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22" r:id="rId4"/>
    <p:sldMasterId id="2147483949" r:id="rId5"/>
  </p:sldMasterIdLst>
  <p:notesMasterIdLst>
    <p:notesMasterId r:id="rId13"/>
  </p:notesMasterIdLst>
  <p:handoutMasterIdLst>
    <p:handoutMasterId r:id="rId14"/>
  </p:handoutMasterIdLst>
  <p:sldIdLst>
    <p:sldId id="266" r:id="rId6"/>
    <p:sldId id="2147378629" r:id="rId7"/>
    <p:sldId id="2147378630" r:id="rId8"/>
    <p:sldId id="2147378624" r:id="rId9"/>
    <p:sldId id="2147378631" r:id="rId10"/>
    <p:sldId id="2147378628" r:id="rId11"/>
    <p:sldId id="2147378622" r:id="rId12"/>
  </p:sldIdLst>
  <p:sldSz cx="12198350" cy="6858000"/>
  <p:notesSz cx="6950075" cy="9236075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474" clrIdx="1"/>
  <p:cmAuthor id="3" name="Rick Essers" initials="RE" lastIdx="48" clrIdx="2">
    <p:extLst>
      <p:ext uri="{19B8F6BF-5375-455C-9EA6-DF929625EA0E}">
        <p15:presenceInfo xmlns:p15="http://schemas.microsoft.com/office/powerpoint/2012/main" userId="S::Rick.Essers@nl.ey.com::e4f724b0-3a28-406b-8de4-e435dfd98f3a" providerId="AD"/>
      </p:ext>
    </p:extLst>
  </p:cmAuthor>
  <p:cmAuthor id="4" name="Simon van Oppen" initials="SvO" lastIdx="11" clrIdx="3">
    <p:extLst>
      <p:ext uri="{19B8F6BF-5375-455C-9EA6-DF929625EA0E}">
        <p15:presenceInfo xmlns:p15="http://schemas.microsoft.com/office/powerpoint/2012/main" userId="S::Simon.van.Oppen@nl.ey.com::90166e1b-5f5b-4187-9fd5-cefcedc13130" providerId="AD"/>
      </p:ext>
    </p:extLst>
  </p:cmAuthor>
  <p:cmAuthor id="5" name="Lance Cameron" initials="LC" lastIdx="10" clrIdx="4">
    <p:extLst>
      <p:ext uri="{19B8F6BF-5375-455C-9EA6-DF929625EA0E}">
        <p15:presenceInfo xmlns:p15="http://schemas.microsoft.com/office/powerpoint/2012/main" userId="S::Lance.Cameron@nl.ey.com::54673115-9996-4fae-b6be-68b1898416f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FFD475"/>
    <a:srgbClr val="0069B4"/>
    <a:srgbClr val="FFFFFF"/>
    <a:srgbClr val="C4C4CD"/>
    <a:srgbClr val="747480"/>
    <a:srgbClr val="FFE600"/>
    <a:srgbClr val="2E2E38"/>
    <a:srgbClr val="80808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2B2CD0-7D01-4ADB-BC51-63BFD3D1EDB9}" v="131" dt="2022-10-04T16:12:10.8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971" autoAdjust="0"/>
    <p:restoredTop sz="95013" autoAdjust="0"/>
  </p:normalViewPr>
  <p:slideViewPr>
    <p:cSldViewPr snapToGrid="0" snapToObjects="1" showGuides="1">
      <p:cViewPr varScale="1">
        <p:scale>
          <a:sx n="63" d="100"/>
          <a:sy n="63" d="100"/>
        </p:scale>
        <p:origin x="1088" y="64"/>
      </p:cViewPr>
      <p:guideLst/>
    </p:cSldViewPr>
  </p:slideViewPr>
  <p:outlineViewPr>
    <p:cViewPr>
      <p:scale>
        <a:sx n="33" d="100"/>
        <a:sy n="33" d="100"/>
      </p:scale>
      <p:origin x="0" y="-7090"/>
    </p:cViewPr>
  </p:outlin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-2004" y="-96"/>
      </p:cViewPr>
      <p:guideLst>
        <p:guide orient="horz" pos="2909"/>
        <p:guide pos="218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4175CC-94EA-47E7-98A0-62637CA5968A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5EA076C-D1A4-4CDA-A5B2-7108A3492C3C}">
      <dgm:prSet phldrT="[Text]" custT="1"/>
      <dgm:spPr>
        <a:solidFill>
          <a:srgbClr val="0069B4">
            <a:hueOff val="0"/>
            <a:satOff val="0"/>
            <a:lumOff val="0"/>
            <a:alphaOff val="0"/>
          </a:srgb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5715" tIns="5715" rIns="5715" bIns="5715" numCol="1" spcCol="1270" anchor="ctr" anchorCtr="0"/>
        <a:lstStyle/>
        <a:p>
          <a:pPr marL="0"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Head of IT (Europe)</a:t>
          </a:r>
          <a:br>
            <a:rPr lang="en-GB" sz="9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</a:br>
          <a:r>
            <a:rPr lang="en-GB" sz="9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Ross Macleod</a:t>
          </a:r>
        </a:p>
      </dgm:t>
    </dgm:pt>
    <dgm:pt modelId="{95F863D0-774C-4B53-85D1-961533EF4E92}" type="parTrans" cxnId="{9025C46E-1EB5-44EB-AFC3-E399A24609DE}">
      <dgm:prSet/>
      <dgm:spPr/>
      <dgm:t>
        <a:bodyPr/>
        <a:lstStyle/>
        <a:p>
          <a:endParaRPr lang="en-GB" sz="900"/>
        </a:p>
      </dgm:t>
    </dgm:pt>
    <dgm:pt modelId="{CA608C78-7626-4AA8-BFB2-543C3AF235A5}" type="sibTrans" cxnId="{9025C46E-1EB5-44EB-AFC3-E399A24609DE}">
      <dgm:prSet/>
      <dgm:spPr/>
      <dgm:t>
        <a:bodyPr/>
        <a:lstStyle/>
        <a:p>
          <a:endParaRPr lang="en-GB" sz="900"/>
        </a:p>
      </dgm:t>
    </dgm:pt>
    <dgm:pt modelId="{F1A01EE4-2499-4005-A091-C01F985C66B2}">
      <dgm:prSet phldrT="[Text]" custT="1"/>
      <dgm:spPr/>
      <dgm:t>
        <a:bodyPr/>
        <a:lstStyle/>
        <a:p>
          <a:r>
            <a:rPr lang="en-GB" sz="900" dirty="0"/>
            <a:t>Technical Delivery Manager</a:t>
          </a:r>
        </a:p>
        <a:p>
          <a:r>
            <a:rPr lang="en-GB" sz="900" dirty="0"/>
            <a:t>Vas Lappas</a:t>
          </a:r>
        </a:p>
      </dgm:t>
    </dgm:pt>
    <dgm:pt modelId="{65E09D22-2953-4BB3-8D23-C2976D46CEFF}" type="parTrans" cxnId="{3D7BCDAB-DC78-443E-80E1-8AB40A496858}">
      <dgm:prSet/>
      <dgm:spPr/>
      <dgm:t>
        <a:bodyPr/>
        <a:lstStyle/>
        <a:p>
          <a:endParaRPr lang="en-GB" sz="900"/>
        </a:p>
      </dgm:t>
    </dgm:pt>
    <dgm:pt modelId="{A954FF72-29E3-4A78-A329-2782BAC933B6}" type="sibTrans" cxnId="{3D7BCDAB-DC78-443E-80E1-8AB40A496858}">
      <dgm:prSet/>
      <dgm:spPr/>
      <dgm:t>
        <a:bodyPr/>
        <a:lstStyle/>
        <a:p>
          <a:endParaRPr lang="en-GB" sz="900"/>
        </a:p>
      </dgm:t>
    </dgm:pt>
    <dgm:pt modelId="{AC42C8F1-9A58-40DA-9AA2-568538F4CED7}">
      <dgm:prSet phldrT="[Text]" custT="1"/>
      <dgm:spPr>
        <a:solidFill>
          <a:schemeClr val="tx2">
            <a:lumMod val="10000"/>
            <a:lumOff val="90000"/>
          </a:schemeClr>
        </a:solidFill>
      </dgm:spPr>
      <dgm:t>
        <a:bodyPr/>
        <a:lstStyle/>
        <a:p>
          <a:r>
            <a:rPr lang="en-GB" sz="900" dirty="0">
              <a:solidFill>
                <a:schemeClr val="tx2"/>
              </a:solidFill>
            </a:rPr>
            <a:t> Product Owner / Scrum Master</a:t>
          </a:r>
        </a:p>
      </dgm:t>
    </dgm:pt>
    <dgm:pt modelId="{13558185-295C-4364-B621-1189DCE8F93E}" type="parTrans" cxnId="{3B9DD202-6E90-4EF1-B4B3-753B874CACF3}">
      <dgm:prSet/>
      <dgm:spPr/>
      <dgm:t>
        <a:bodyPr/>
        <a:lstStyle/>
        <a:p>
          <a:endParaRPr lang="en-GB" sz="900"/>
        </a:p>
      </dgm:t>
    </dgm:pt>
    <dgm:pt modelId="{3D30834B-F0B9-4C95-872E-1708587EBAC6}" type="sibTrans" cxnId="{3B9DD202-6E90-4EF1-B4B3-753B874CACF3}">
      <dgm:prSet/>
      <dgm:spPr/>
      <dgm:t>
        <a:bodyPr/>
        <a:lstStyle/>
        <a:p>
          <a:endParaRPr lang="en-GB" sz="900"/>
        </a:p>
      </dgm:t>
    </dgm:pt>
    <dgm:pt modelId="{2FC2DFB8-BE10-42E4-A7B3-3D5890162E79}">
      <dgm:prSet phldrT="[Text]" custT="1"/>
      <dgm:spPr>
        <a:solidFill>
          <a:schemeClr val="tx2">
            <a:lumMod val="10000"/>
            <a:lumOff val="90000"/>
          </a:scheme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5715" tIns="5715" rIns="5715" bIns="5715" numCol="1" spcCol="1270" anchor="ctr" anchorCtr="0"/>
        <a:lstStyle/>
        <a:p>
          <a:pPr marL="0" marR="0" lvl="0" indent="0" algn="ctr" defTabSz="40005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en-GB" sz="900" dirty="0">
              <a:solidFill>
                <a:schemeClr val="tx2"/>
              </a:solidFill>
            </a:rPr>
            <a:t>Data Modeller</a:t>
          </a:r>
        </a:p>
      </dgm:t>
    </dgm:pt>
    <dgm:pt modelId="{160871BB-CE0F-4E7A-880A-8C27F7684950}" type="parTrans" cxnId="{30CA963D-8FC8-49A6-920F-DA0EE3CC16E8}">
      <dgm:prSet/>
      <dgm:spPr/>
      <dgm:t>
        <a:bodyPr/>
        <a:lstStyle/>
        <a:p>
          <a:endParaRPr lang="en-GB" sz="900"/>
        </a:p>
      </dgm:t>
    </dgm:pt>
    <dgm:pt modelId="{54540B19-34C7-4A89-8C24-4E1C892F07B1}" type="sibTrans" cxnId="{30CA963D-8FC8-49A6-920F-DA0EE3CC16E8}">
      <dgm:prSet/>
      <dgm:spPr/>
      <dgm:t>
        <a:bodyPr/>
        <a:lstStyle/>
        <a:p>
          <a:endParaRPr lang="en-GB" sz="900"/>
        </a:p>
      </dgm:t>
    </dgm:pt>
    <dgm:pt modelId="{2191D5D0-7EA2-42DC-8C61-473717487231}">
      <dgm:prSet phldrT="[Text]" custT="1"/>
      <dgm:spPr>
        <a:solidFill>
          <a:schemeClr val="tx2">
            <a:lumMod val="10000"/>
            <a:lumOff val="90000"/>
          </a:schemeClr>
        </a:solidFill>
      </dgm:spPr>
      <dgm:t>
        <a:bodyPr/>
        <a:lstStyle/>
        <a:p>
          <a:r>
            <a:rPr lang="en-GB" sz="900" dirty="0">
              <a:solidFill>
                <a:schemeClr val="tx2"/>
              </a:solidFill>
            </a:rPr>
            <a:t>Business Data Architect</a:t>
          </a:r>
        </a:p>
        <a:p>
          <a:r>
            <a:rPr lang="en-GB" sz="900" dirty="0">
              <a:solidFill>
                <a:schemeClr val="tx2"/>
              </a:solidFill>
            </a:rPr>
            <a:t>(Tom Finlay?)</a:t>
          </a:r>
        </a:p>
      </dgm:t>
    </dgm:pt>
    <dgm:pt modelId="{0F44C884-4021-4793-AC8D-0B88BB9689A1}" type="parTrans" cxnId="{3EB6D04B-7436-474A-9883-E9448A682A4E}">
      <dgm:prSet/>
      <dgm:spPr/>
      <dgm:t>
        <a:bodyPr/>
        <a:lstStyle/>
        <a:p>
          <a:endParaRPr lang="en-GB" sz="900"/>
        </a:p>
      </dgm:t>
    </dgm:pt>
    <dgm:pt modelId="{4AD024EA-0685-4F36-BA77-2D334F8450CF}" type="sibTrans" cxnId="{3EB6D04B-7436-474A-9883-E9448A682A4E}">
      <dgm:prSet/>
      <dgm:spPr/>
      <dgm:t>
        <a:bodyPr/>
        <a:lstStyle/>
        <a:p>
          <a:endParaRPr lang="en-GB" sz="900"/>
        </a:p>
      </dgm:t>
    </dgm:pt>
    <dgm:pt modelId="{ADCB52E2-FC53-4432-9409-0C090750CDCF}">
      <dgm:prSet phldrT="[Text]" custT="1"/>
      <dgm:spPr/>
      <dgm:t>
        <a:bodyPr/>
        <a:lstStyle/>
        <a:p>
          <a:r>
            <a:rPr lang="en-GB" sz="900" dirty="0"/>
            <a:t>Snowflake Developer</a:t>
          </a:r>
        </a:p>
      </dgm:t>
    </dgm:pt>
    <dgm:pt modelId="{6DD2F2CF-CE1C-4B08-BB3A-B252729C3BFB}" type="parTrans" cxnId="{B5A3F1B8-EC2C-4595-9509-6C906323A038}">
      <dgm:prSet/>
      <dgm:spPr/>
      <dgm:t>
        <a:bodyPr/>
        <a:lstStyle/>
        <a:p>
          <a:endParaRPr lang="en-GB" sz="900"/>
        </a:p>
      </dgm:t>
    </dgm:pt>
    <dgm:pt modelId="{BD1C5D5C-AA58-4E3D-89EE-230CCDBF3839}" type="sibTrans" cxnId="{B5A3F1B8-EC2C-4595-9509-6C906323A038}">
      <dgm:prSet/>
      <dgm:spPr/>
      <dgm:t>
        <a:bodyPr/>
        <a:lstStyle/>
        <a:p>
          <a:endParaRPr lang="en-GB" sz="900"/>
        </a:p>
      </dgm:t>
    </dgm:pt>
    <dgm:pt modelId="{5EBB1EE4-0CF1-46C6-AF8F-5725F9FF4CE2}">
      <dgm:prSet phldrT="[Text]" custT="1"/>
      <dgm:spPr/>
      <dgm:t>
        <a:bodyPr/>
        <a:lstStyle/>
        <a:p>
          <a:r>
            <a:rPr lang="en-GB" sz="900" dirty="0"/>
            <a:t>Snowflake Developer</a:t>
          </a:r>
        </a:p>
      </dgm:t>
    </dgm:pt>
    <dgm:pt modelId="{E82B6303-68D2-4ED0-B432-DCBD64D28036}" type="parTrans" cxnId="{D7E20165-BE62-49C5-83E7-471F72135053}">
      <dgm:prSet/>
      <dgm:spPr/>
      <dgm:t>
        <a:bodyPr/>
        <a:lstStyle/>
        <a:p>
          <a:endParaRPr lang="en-GB" sz="900"/>
        </a:p>
      </dgm:t>
    </dgm:pt>
    <dgm:pt modelId="{CD612CD0-2A4A-4CE3-90EB-C4058B8F17A2}" type="sibTrans" cxnId="{D7E20165-BE62-49C5-83E7-471F72135053}">
      <dgm:prSet/>
      <dgm:spPr/>
      <dgm:t>
        <a:bodyPr/>
        <a:lstStyle/>
        <a:p>
          <a:endParaRPr lang="en-GB" sz="900"/>
        </a:p>
      </dgm:t>
    </dgm:pt>
    <dgm:pt modelId="{BF47F3EC-9DB8-4A7C-AA4F-D2B708E62224}">
      <dgm:prSet phldrT="[Text]" custT="1"/>
      <dgm:spPr>
        <a:solidFill>
          <a:schemeClr val="tx2">
            <a:lumMod val="10000"/>
            <a:lumOff val="90000"/>
          </a:schemeClr>
        </a:solidFill>
      </dgm:spPr>
      <dgm:t>
        <a:bodyPr/>
        <a:lstStyle/>
        <a:p>
          <a:r>
            <a:rPr lang="en-GB" sz="900" dirty="0">
              <a:solidFill>
                <a:schemeClr val="tx2"/>
              </a:solidFill>
            </a:rPr>
            <a:t>Collibra Analyst</a:t>
          </a:r>
        </a:p>
      </dgm:t>
    </dgm:pt>
    <dgm:pt modelId="{9A8F85CB-FE66-459F-BEB5-F5DD1B32C40F}" type="parTrans" cxnId="{DB394193-2253-4BBD-8B90-5BC674264113}">
      <dgm:prSet/>
      <dgm:spPr/>
      <dgm:t>
        <a:bodyPr/>
        <a:lstStyle/>
        <a:p>
          <a:endParaRPr lang="en-GB" sz="900"/>
        </a:p>
      </dgm:t>
    </dgm:pt>
    <dgm:pt modelId="{91466F35-405B-4896-8384-AC638F5E5922}" type="sibTrans" cxnId="{DB394193-2253-4BBD-8B90-5BC674264113}">
      <dgm:prSet/>
      <dgm:spPr/>
      <dgm:t>
        <a:bodyPr/>
        <a:lstStyle/>
        <a:p>
          <a:endParaRPr lang="en-GB" sz="900"/>
        </a:p>
      </dgm:t>
    </dgm:pt>
    <dgm:pt modelId="{8A675DC8-8D07-4131-BEC3-C264CAF59B83}">
      <dgm:prSet phldrT="[Text]" custT="1"/>
      <dgm:spPr>
        <a:solidFill>
          <a:schemeClr val="tx2">
            <a:lumMod val="10000"/>
            <a:lumOff val="90000"/>
          </a:schemeClr>
        </a:solidFill>
      </dgm:spPr>
      <dgm:t>
        <a:bodyPr/>
        <a:lstStyle/>
        <a:p>
          <a:r>
            <a:rPr lang="en-GB" sz="900" dirty="0">
              <a:solidFill>
                <a:schemeClr val="tx2"/>
              </a:solidFill>
            </a:rPr>
            <a:t>Aladdin SME</a:t>
          </a:r>
        </a:p>
      </dgm:t>
    </dgm:pt>
    <dgm:pt modelId="{51C0F719-122B-4CC9-933C-EB4749BE198F}" type="parTrans" cxnId="{A0B6BC38-0DCE-4B0A-95CE-468FB1137F54}">
      <dgm:prSet/>
      <dgm:spPr/>
      <dgm:t>
        <a:bodyPr/>
        <a:lstStyle/>
        <a:p>
          <a:endParaRPr lang="en-GB" sz="900"/>
        </a:p>
      </dgm:t>
    </dgm:pt>
    <dgm:pt modelId="{CC3FD58D-92A3-4787-9BEA-83D248E5A1CF}" type="sibTrans" cxnId="{A0B6BC38-0DCE-4B0A-95CE-468FB1137F54}">
      <dgm:prSet/>
      <dgm:spPr/>
      <dgm:t>
        <a:bodyPr/>
        <a:lstStyle/>
        <a:p>
          <a:endParaRPr lang="en-GB" sz="900"/>
        </a:p>
      </dgm:t>
    </dgm:pt>
    <dgm:pt modelId="{E076B76E-B9B7-4C9F-B654-9052712BF48E}">
      <dgm:prSet phldrT="[Text]" custT="1"/>
      <dgm:spPr>
        <a:solidFill>
          <a:schemeClr val="tx2">
            <a:lumMod val="10000"/>
            <a:lumOff val="90000"/>
          </a:schemeClr>
        </a:solidFill>
      </dgm:spPr>
      <dgm:t>
        <a:bodyPr/>
        <a:lstStyle/>
        <a:p>
          <a:r>
            <a:rPr lang="en-GB" sz="900" dirty="0">
              <a:solidFill>
                <a:schemeClr val="tx2"/>
              </a:solidFill>
            </a:rPr>
            <a:t>ADC SME</a:t>
          </a:r>
        </a:p>
      </dgm:t>
    </dgm:pt>
    <dgm:pt modelId="{A219EF19-9022-498E-8067-46D85874D092}" type="parTrans" cxnId="{7A9DC9C0-60DF-48DB-8231-6FBE61590345}">
      <dgm:prSet/>
      <dgm:spPr/>
      <dgm:t>
        <a:bodyPr/>
        <a:lstStyle/>
        <a:p>
          <a:endParaRPr lang="en-GB" sz="900"/>
        </a:p>
      </dgm:t>
    </dgm:pt>
    <dgm:pt modelId="{40385060-159A-46A7-B41F-CF7065304BEB}" type="sibTrans" cxnId="{7A9DC9C0-60DF-48DB-8231-6FBE61590345}">
      <dgm:prSet/>
      <dgm:spPr/>
      <dgm:t>
        <a:bodyPr/>
        <a:lstStyle/>
        <a:p>
          <a:endParaRPr lang="en-GB" sz="900"/>
        </a:p>
      </dgm:t>
    </dgm:pt>
    <dgm:pt modelId="{CD73709F-B5FA-4395-8EBC-60DD33A7E58A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GB" sz="900" dirty="0"/>
            <a:t>Snowflake SME</a:t>
          </a:r>
        </a:p>
        <a:p>
          <a:r>
            <a:rPr lang="en-GB" sz="900" dirty="0" err="1"/>
            <a:t>Catalin</a:t>
          </a:r>
          <a:r>
            <a:rPr lang="en-GB" sz="900" dirty="0"/>
            <a:t> </a:t>
          </a:r>
          <a:r>
            <a:rPr lang="en-GB" sz="900" dirty="0" err="1"/>
            <a:t>Bobarnac</a:t>
          </a:r>
          <a:endParaRPr lang="en-GB" sz="900" dirty="0"/>
        </a:p>
      </dgm:t>
    </dgm:pt>
    <dgm:pt modelId="{428E1C67-8080-4238-B2B5-E01A9C2E807D}" type="parTrans" cxnId="{B0E6E96E-33BD-49C8-AB9C-9CEC089F6946}">
      <dgm:prSet/>
      <dgm:spPr/>
      <dgm:t>
        <a:bodyPr/>
        <a:lstStyle/>
        <a:p>
          <a:endParaRPr lang="en-GB" sz="900"/>
        </a:p>
      </dgm:t>
    </dgm:pt>
    <dgm:pt modelId="{31F9D7B9-D146-428B-A03A-E6FB4B2783A8}" type="sibTrans" cxnId="{B0E6E96E-33BD-49C8-AB9C-9CEC089F6946}">
      <dgm:prSet/>
      <dgm:spPr/>
      <dgm:t>
        <a:bodyPr/>
        <a:lstStyle/>
        <a:p>
          <a:endParaRPr lang="en-GB" sz="900"/>
        </a:p>
      </dgm:t>
    </dgm:pt>
    <dgm:pt modelId="{5AF0A1FA-5B91-417C-91F9-5CBD3B0AFF43}">
      <dgm:prSet phldrT="[Text]" custT="1"/>
      <dgm:spPr>
        <a:solidFill>
          <a:schemeClr val="tx2">
            <a:lumMod val="10000"/>
            <a:lumOff val="90000"/>
          </a:scheme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5715" tIns="5715" rIns="5715" bIns="5715" numCol="1" spcCol="1270" anchor="ctr" anchorCtr="0"/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solidFill>
                <a:schemeClr val="tx2"/>
              </a:solidFill>
              <a:latin typeface="Calibri" panose="020F0502020204030204"/>
              <a:ea typeface="+mn-ea"/>
              <a:cs typeface="+mn-cs"/>
            </a:rPr>
            <a:t>Data Architect</a:t>
          </a:r>
        </a:p>
      </dgm:t>
    </dgm:pt>
    <dgm:pt modelId="{3D560C95-DDC3-4CAB-8C9A-77A797A3C526}" type="parTrans" cxnId="{DDEA6D53-9DD8-4982-B999-484E44458544}">
      <dgm:prSet/>
      <dgm:spPr/>
      <dgm:t>
        <a:bodyPr/>
        <a:lstStyle/>
        <a:p>
          <a:endParaRPr lang="en-GB"/>
        </a:p>
      </dgm:t>
    </dgm:pt>
    <dgm:pt modelId="{FFBF274C-AD71-42F9-AEDF-F6C347067B9C}" type="sibTrans" cxnId="{DDEA6D53-9DD8-4982-B999-484E44458544}">
      <dgm:prSet/>
      <dgm:spPr/>
      <dgm:t>
        <a:bodyPr/>
        <a:lstStyle/>
        <a:p>
          <a:endParaRPr lang="en-GB"/>
        </a:p>
      </dgm:t>
    </dgm:pt>
    <dgm:pt modelId="{80285A4F-A984-4303-BE18-56930CB680C1}">
      <dgm:prSet custT="1"/>
      <dgm:spPr/>
      <dgm:t>
        <a:bodyPr/>
        <a:lstStyle/>
        <a:p>
          <a:r>
            <a:rPr lang="en-GB" sz="9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Business Data Architect</a:t>
          </a:r>
          <a:br>
            <a:rPr lang="en-GB" sz="9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</a:br>
          <a:r>
            <a:rPr lang="en-GB" sz="9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Paul Huizinga</a:t>
          </a:r>
        </a:p>
      </dgm:t>
    </dgm:pt>
    <dgm:pt modelId="{E92628A5-5E71-450B-AAFD-6753CF48F840}" type="parTrans" cxnId="{90F83DE2-BA83-4DBE-81D8-B8AB50274114}">
      <dgm:prSet/>
      <dgm:spPr/>
      <dgm:t>
        <a:bodyPr/>
        <a:lstStyle/>
        <a:p>
          <a:endParaRPr lang="en-GB"/>
        </a:p>
      </dgm:t>
    </dgm:pt>
    <dgm:pt modelId="{F36C6C95-75CA-475E-864E-CD88809E3764}" type="sibTrans" cxnId="{90F83DE2-BA83-4DBE-81D8-B8AB50274114}">
      <dgm:prSet/>
      <dgm:spPr/>
      <dgm:t>
        <a:bodyPr/>
        <a:lstStyle/>
        <a:p>
          <a:endParaRPr lang="en-GB"/>
        </a:p>
      </dgm:t>
    </dgm:pt>
    <dgm:pt modelId="{4EAFD249-A5FE-4114-B9A7-1761CBB14632}" type="pres">
      <dgm:prSet presAssocID="{4F4175CC-94EA-47E7-98A0-62637CA5968A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B2ED49D-8313-4371-B675-51680636DAAD}" type="pres">
      <dgm:prSet presAssocID="{45EA076C-D1A4-4CDA-A5B2-7108A3492C3C}" presName="hierRoot1" presStyleCnt="0">
        <dgm:presLayoutVars>
          <dgm:hierBranch val="init"/>
        </dgm:presLayoutVars>
      </dgm:prSet>
      <dgm:spPr/>
    </dgm:pt>
    <dgm:pt modelId="{5FB82650-D47A-480F-A2B5-8816B3AD45C6}" type="pres">
      <dgm:prSet presAssocID="{45EA076C-D1A4-4CDA-A5B2-7108A3492C3C}" presName="rootComposite1" presStyleCnt="0"/>
      <dgm:spPr/>
    </dgm:pt>
    <dgm:pt modelId="{BADD7501-52DC-4DB3-8AA8-B56DE46658CD}" type="pres">
      <dgm:prSet presAssocID="{45EA076C-D1A4-4CDA-A5B2-7108A3492C3C}" presName="rootText1" presStyleLbl="node0" presStyleIdx="0" presStyleCnt="1">
        <dgm:presLayoutVars>
          <dgm:chPref val="3"/>
        </dgm:presLayoutVars>
      </dgm:prSet>
      <dgm:spPr>
        <a:xfrm>
          <a:off x="1891058" y="2180"/>
          <a:ext cx="830522" cy="415261"/>
        </a:xfrm>
        <a:prstGeom prst="rect">
          <a:avLst/>
        </a:prstGeom>
      </dgm:spPr>
    </dgm:pt>
    <dgm:pt modelId="{C3478F76-C0B5-4A84-8AFD-EFAFC6D52FA5}" type="pres">
      <dgm:prSet presAssocID="{45EA076C-D1A4-4CDA-A5B2-7108A3492C3C}" presName="rootConnector1" presStyleLbl="node1" presStyleIdx="0" presStyleCnt="0"/>
      <dgm:spPr/>
    </dgm:pt>
    <dgm:pt modelId="{464DA5D8-D85D-41D1-9DF6-25E17E65329B}" type="pres">
      <dgm:prSet presAssocID="{45EA076C-D1A4-4CDA-A5B2-7108A3492C3C}" presName="hierChild2" presStyleCnt="0"/>
      <dgm:spPr/>
    </dgm:pt>
    <dgm:pt modelId="{CE915928-9920-42A7-B5FB-4CF93145B426}" type="pres">
      <dgm:prSet presAssocID="{65E09D22-2953-4BB3-8D23-C2976D46CEFF}" presName="Name37" presStyleLbl="parChTrans1D2" presStyleIdx="0" presStyleCnt="1"/>
      <dgm:spPr/>
    </dgm:pt>
    <dgm:pt modelId="{3C704719-5F6E-4E28-887F-1B445C52BEAA}" type="pres">
      <dgm:prSet presAssocID="{F1A01EE4-2499-4005-A091-C01F985C66B2}" presName="hierRoot2" presStyleCnt="0">
        <dgm:presLayoutVars>
          <dgm:hierBranch val="init"/>
        </dgm:presLayoutVars>
      </dgm:prSet>
      <dgm:spPr/>
    </dgm:pt>
    <dgm:pt modelId="{6611DFD4-6DEB-4F04-BFC8-F123E31A161B}" type="pres">
      <dgm:prSet presAssocID="{F1A01EE4-2499-4005-A091-C01F985C66B2}" presName="rootComposite" presStyleCnt="0"/>
      <dgm:spPr/>
    </dgm:pt>
    <dgm:pt modelId="{A9257F9A-1AA0-4331-8581-E03BE91AB593}" type="pres">
      <dgm:prSet presAssocID="{F1A01EE4-2499-4005-A091-C01F985C66B2}" presName="rootText" presStyleLbl="node2" presStyleIdx="0" presStyleCnt="1" custScaleX="139787">
        <dgm:presLayoutVars>
          <dgm:chPref val="3"/>
        </dgm:presLayoutVars>
      </dgm:prSet>
      <dgm:spPr/>
    </dgm:pt>
    <dgm:pt modelId="{0FF27ED0-5A3F-4147-B9B5-7239448D218A}" type="pres">
      <dgm:prSet presAssocID="{F1A01EE4-2499-4005-A091-C01F985C66B2}" presName="rootConnector" presStyleLbl="node2" presStyleIdx="0" presStyleCnt="1"/>
      <dgm:spPr/>
    </dgm:pt>
    <dgm:pt modelId="{B6F80BD1-3742-418C-904A-4BA5671640BA}" type="pres">
      <dgm:prSet presAssocID="{F1A01EE4-2499-4005-A091-C01F985C66B2}" presName="hierChild4" presStyleCnt="0"/>
      <dgm:spPr/>
    </dgm:pt>
    <dgm:pt modelId="{B6D87D60-8CF8-460F-B992-3A64FD60D012}" type="pres">
      <dgm:prSet presAssocID="{13558185-295C-4364-B621-1189DCE8F93E}" presName="Name37" presStyleLbl="parChTrans1D3" presStyleIdx="0" presStyleCnt="1"/>
      <dgm:spPr/>
    </dgm:pt>
    <dgm:pt modelId="{02ACDDEF-D34B-4E80-9FF8-F94DBBA50745}" type="pres">
      <dgm:prSet presAssocID="{AC42C8F1-9A58-40DA-9AA2-568538F4CED7}" presName="hierRoot2" presStyleCnt="0">
        <dgm:presLayoutVars>
          <dgm:hierBranch val="hang"/>
        </dgm:presLayoutVars>
      </dgm:prSet>
      <dgm:spPr/>
    </dgm:pt>
    <dgm:pt modelId="{3C296B11-9518-4FF8-A7B7-C4F3C4E11748}" type="pres">
      <dgm:prSet presAssocID="{AC42C8F1-9A58-40DA-9AA2-568538F4CED7}" presName="rootComposite" presStyleCnt="0"/>
      <dgm:spPr/>
    </dgm:pt>
    <dgm:pt modelId="{C8F6DFC8-34D8-4298-8906-719E5AC27D9C}" type="pres">
      <dgm:prSet presAssocID="{AC42C8F1-9A58-40DA-9AA2-568538F4CED7}" presName="rootText" presStyleLbl="node3" presStyleIdx="0" presStyleCnt="1">
        <dgm:presLayoutVars>
          <dgm:chPref val="3"/>
        </dgm:presLayoutVars>
      </dgm:prSet>
      <dgm:spPr/>
    </dgm:pt>
    <dgm:pt modelId="{A890048C-9C3C-4871-BA65-8A14C725F520}" type="pres">
      <dgm:prSet presAssocID="{AC42C8F1-9A58-40DA-9AA2-568538F4CED7}" presName="rootConnector" presStyleLbl="node3" presStyleIdx="0" presStyleCnt="1"/>
      <dgm:spPr/>
    </dgm:pt>
    <dgm:pt modelId="{10FDA31E-3DDA-44C5-A1D2-AA76EC7D51AE}" type="pres">
      <dgm:prSet presAssocID="{AC42C8F1-9A58-40DA-9AA2-568538F4CED7}" presName="hierChild4" presStyleCnt="0"/>
      <dgm:spPr/>
    </dgm:pt>
    <dgm:pt modelId="{DD80480C-8681-4872-BFB5-D3B79BAE56B0}" type="pres">
      <dgm:prSet presAssocID="{160871BB-CE0F-4E7A-880A-8C27F7684950}" presName="Name48" presStyleLbl="parChTrans1D4" presStyleIdx="0" presStyleCnt="10"/>
      <dgm:spPr/>
    </dgm:pt>
    <dgm:pt modelId="{D09F303F-DCCA-42FC-84EB-438BEDAE2C30}" type="pres">
      <dgm:prSet presAssocID="{2FC2DFB8-BE10-42E4-A7B3-3D5890162E79}" presName="hierRoot2" presStyleCnt="0">
        <dgm:presLayoutVars>
          <dgm:hierBranch val="hang"/>
        </dgm:presLayoutVars>
      </dgm:prSet>
      <dgm:spPr/>
    </dgm:pt>
    <dgm:pt modelId="{2D170630-B6B5-4684-B63B-BD894BA68C40}" type="pres">
      <dgm:prSet presAssocID="{2FC2DFB8-BE10-42E4-A7B3-3D5890162E79}" presName="rootComposite" presStyleCnt="0"/>
      <dgm:spPr/>
    </dgm:pt>
    <dgm:pt modelId="{75A8B070-15C8-44BD-B9DB-E999A20E46AB}" type="pres">
      <dgm:prSet presAssocID="{2FC2DFB8-BE10-42E4-A7B3-3D5890162E79}" presName="rootText" presStyleLbl="node4" presStyleIdx="0" presStyleCnt="10" custLinFactNeighborY="-21956">
        <dgm:presLayoutVars>
          <dgm:chPref val="3"/>
        </dgm:presLayoutVars>
      </dgm:prSet>
      <dgm:spPr>
        <a:xfrm>
          <a:off x="1251710" y="1930287"/>
          <a:ext cx="954397" cy="477198"/>
        </a:xfrm>
        <a:prstGeom prst="rect">
          <a:avLst/>
        </a:prstGeom>
      </dgm:spPr>
    </dgm:pt>
    <dgm:pt modelId="{F7CEBC9C-1246-4033-A9B7-A10233131615}" type="pres">
      <dgm:prSet presAssocID="{2FC2DFB8-BE10-42E4-A7B3-3D5890162E79}" presName="rootConnector" presStyleLbl="node4" presStyleIdx="0" presStyleCnt="10"/>
      <dgm:spPr/>
    </dgm:pt>
    <dgm:pt modelId="{5D04E14B-53EB-4E15-BB15-9E9120227CBA}" type="pres">
      <dgm:prSet presAssocID="{2FC2DFB8-BE10-42E4-A7B3-3D5890162E79}" presName="hierChild4" presStyleCnt="0"/>
      <dgm:spPr/>
    </dgm:pt>
    <dgm:pt modelId="{4449EDF6-D4A3-4BF1-B5C9-D3DA3C2A537C}" type="pres">
      <dgm:prSet presAssocID="{2FC2DFB8-BE10-42E4-A7B3-3D5890162E79}" presName="hierChild5" presStyleCnt="0"/>
      <dgm:spPr/>
    </dgm:pt>
    <dgm:pt modelId="{7BCEB584-A533-496E-AB22-D26DD4C6DAD7}" type="pres">
      <dgm:prSet presAssocID="{3D560C95-DDC3-4CAB-8C9A-77A797A3C526}" presName="Name48" presStyleLbl="parChTrans1D4" presStyleIdx="1" presStyleCnt="10"/>
      <dgm:spPr/>
    </dgm:pt>
    <dgm:pt modelId="{667F82C5-532E-4BC5-8D4B-6A86B90F2230}" type="pres">
      <dgm:prSet presAssocID="{5AF0A1FA-5B91-417C-91F9-5CBD3B0AFF43}" presName="hierRoot2" presStyleCnt="0">
        <dgm:presLayoutVars>
          <dgm:hierBranch val="init"/>
        </dgm:presLayoutVars>
      </dgm:prSet>
      <dgm:spPr/>
    </dgm:pt>
    <dgm:pt modelId="{65A55924-692F-40B7-8B3E-535DFB6334D0}" type="pres">
      <dgm:prSet presAssocID="{5AF0A1FA-5B91-417C-91F9-5CBD3B0AFF43}" presName="rootComposite" presStyleCnt="0"/>
      <dgm:spPr/>
    </dgm:pt>
    <dgm:pt modelId="{0C8A147E-B514-4BC2-9C9B-06D3954E0EEA}" type="pres">
      <dgm:prSet presAssocID="{5AF0A1FA-5B91-417C-91F9-5CBD3B0AFF43}" presName="rootText" presStyleLbl="node4" presStyleIdx="1" presStyleCnt="10" custLinFactNeighborY="-21956">
        <dgm:presLayoutVars>
          <dgm:chPref val="3"/>
        </dgm:presLayoutVars>
      </dgm:prSet>
      <dgm:spPr>
        <a:prstGeom prst="rect">
          <a:avLst/>
        </a:prstGeom>
      </dgm:spPr>
    </dgm:pt>
    <dgm:pt modelId="{9EBAD937-B7CD-44E9-B604-9224F5EB3126}" type="pres">
      <dgm:prSet presAssocID="{5AF0A1FA-5B91-417C-91F9-5CBD3B0AFF43}" presName="rootConnector" presStyleLbl="node4" presStyleIdx="1" presStyleCnt="10"/>
      <dgm:spPr/>
    </dgm:pt>
    <dgm:pt modelId="{8FEF890F-1748-4A7C-91BB-7C172D62BE44}" type="pres">
      <dgm:prSet presAssocID="{5AF0A1FA-5B91-417C-91F9-5CBD3B0AFF43}" presName="hierChild4" presStyleCnt="0"/>
      <dgm:spPr/>
    </dgm:pt>
    <dgm:pt modelId="{515FD926-EDEC-4044-8960-6A4E0EFDCCB0}" type="pres">
      <dgm:prSet presAssocID="{5AF0A1FA-5B91-417C-91F9-5CBD3B0AFF43}" presName="hierChild5" presStyleCnt="0"/>
      <dgm:spPr/>
    </dgm:pt>
    <dgm:pt modelId="{63EC9A02-80CE-47CF-9A07-FEF4151BEE66}" type="pres">
      <dgm:prSet presAssocID="{0F44C884-4021-4793-AC8D-0B88BB9689A1}" presName="Name48" presStyleLbl="parChTrans1D4" presStyleIdx="2" presStyleCnt="10"/>
      <dgm:spPr/>
    </dgm:pt>
    <dgm:pt modelId="{A5B929C8-2C6E-49DC-A0BC-5691D69CFD98}" type="pres">
      <dgm:prSet presAssocID="{2191D5D0-7EA2-42DC-8C61-473717487231}" presName="hierRoot2" presStyleCnt="0">
        <dgm:presLayoutVars>
          <dgm:hierBranch val="hang"/>
        </dgm:presLayoutVars>
      </dgm:prSet>
      <dgm:spPr/>
    </dgm:pt>
    <dgm:pt modelId="{E7DB7E93-EFF4-43F5-A10D-1E64E4B75FF2}" type="pres">
      <dgm:prSet presAssocID="{2191D5D0-7EA2-42DC-8C61-473717487231}" presName="rootComposite" presStyleCnt="0"/>
      <dgm:spPr/>
    </dgm:pt>
    <dgm:pt modelId="{6C33D099-9787-4D15-B9ED-60D27916E647}" type="pres">
      <dgm:prSet presAssocID="{2191D5D0-7EA2-42DC-8C61-473717487231}" presName="rootText" presStyleLbl="node4" presStyleIdx="2" presStyleCnt="10" custLinFactNeighborY="-21956">
        <dgm:presLayoutVars>
          <dgm:chPref val="3"/>
        </dgm:presLayoutVars>
      </dgm:prSet>
      <dgm:spPr/>
    </dgm:pt>
    <dgm:pt modelId="{8C664F96-C091-4073-B79C-2D17155B60FF}" type="pres">
      <dgm:prSet presAssocID="{2191D5D0-7EA2-42DC-8C61-473717487231}" presName="rootConnector" presStyleLbl="node4" presStyleIdx="2" presStyleCnt="10"/>
      <dgm:spPr/>
    </dgm:pt>
    <dgm:pt modelId="{5589F1E6-0922-46C5-8D86-50C6E14CE6D9}" type="pres">
      <dgm:prSet presAssocID="{2191D5D0-7EA2-42DC-8C61-473717487231}" presName="hierChild4" presStyleCnt="0"/>
      <dgm:spPr/>
    </dgm:pt>
    <dgm:pt modelId="{10742F9E-5B8E-4C7F-AF82-8027554F26EF}" type="pres">
      <dgm:prSet presAssocID="{2191D5D0-7EA2-42DC-8C61-473717487231}" presName="hierChild5" presStyleCnt="0"/>
      <dgm:spPr/>
    </dgm:pt>
    <dgm:pt modelId="{775BBDE9-2F42-4A4B-ADE7-050D63DDF734}" type="pres">
      <dgm:prSet presAssocID="{E92628A5-5E71-450B-AAFD-6753CF48F840}" presName="Name48" presStyleLbl="parChTrans1D4" presStyleIdx="3" presStyleCnt="10"/>
      <dgm:spPr/>
    </dgm:pt>
    <dgm:pt modelId="{08CC1256-DAA5-4FF7-90E5-0ACAD3C7CC9E}" type="pres">
      <dgm:prSet presAssocID="{80285A4F-A984-4303-BE18-56930CB680C1}" presName="hierRoot2" presStyleCnt="0">
        <dgm:presLayoutVars>
          <dgm:hierBranch val="init"/>
        </dgm:presLayoutVars>
      </dgm:prSet>
      <dgm:spPr/>
    </dgm:pt>
    <dgm:pt modelId="{2446FEEC-663B-4077-8913-E69BF7674F0C}" type="pres">
      <dgm:prSet presAssocID="{80285A4F-A984-4303-BE18-56930CB680C1}" presName="rootComposite" presStyleCnt="0"/>
      <dgm:spPr/>
    </dgm:pt>
    <dgm:pt modelId="{4153772F-9A45-46D0-8C0D-F3F3E4814253}" type="pres">
      <dgm:prSet presAssocID="{80285A4F-A984-4303-BE18-56930CB680C1}" presName="rootText" presStyleLbl="node4" presStyleIdx="3" presStyleCnt="10">
        <dgm:presLayoutVars>
          <dgm:chPref val="3"/>
        </dgm:presLayoutVars>
      </dgm:prSet>
      <dgm:spPr/>
    </dgm:pt>
    <dgm:pt modelId="{C5276B05-2164-466C-AC7B-130B8A6285F3}" type="pres">
      <dgm:prSet presAssocID="{80285A4F-A984-4303-BE18-56930CB680C1}" presName="rootConnector" presStyleLbl="node4" presStyleIdx="3" presStyleCnt="10"/>
      <dgm:spPr/>
    </dgm:pt>
    <dgm:pt modelId="{B7B23A04-EF7C-4178-95F7-65754237BD02}" type="pres">
      <dgm:prSet presAssocID="{80285A4F-A984-4303-BE18-56930CB680C1}" presName="hierChild4" presStyleCnt="0"/>
      <dgm:spPr/>
    </dgm:pt>
    <dgm:pt modelId="{D70D90D1-D58D-4A18-A9D8-488B5D5BF5B3}" type="pres">
      <dgm:prSet presAssocID="{80285A4F-A984-4303-BE18-56930CB680C1}" presName="hierChild5" presStyleCnt="0"/>
      <dgm:spPr/>
    </dgm:pt>
    <dgm:pt modelId="{AD09FE6D-8559-4112-B885-80DDC6F37DC0}" type="pres">
      <dgm:prSet presAssocID="{6DD2F2CF-CE1C-4B08-BB3A-B252729C3BFB}" presName="Name48" presStyleLbl="parChTrans1D4" presStyleIdx="4" presStyleCnt="10"/>
      <dgm:spPr/>
    </dgm:pt>
    <dgm:pt modelId="{CA2E5EDF-9108-4F97-B173-927037D78F73}" type="pres">
      <dgm:prSet presAssocID="{ADCB52E2-FC53-4432-9409-0C090750CDCF}" presName="hierRoot2" presStyleCnt="0">
        <dgm:presLayoutVars>
          <dgm:hierBranch val="hang"/>
        </dgm:presLayoutVars>
      </dgm:prSet>
      <dgm:spPr/>
    </dgm:pt>
    <dgm:pt modelId="{2B34DC8D-46FA-4507-9AA7-20894F8C3CFE}" type="pres">
      <dgm:prSet presAssocID="{ADCB52E2-FC53-4432-9409-0C090750CDCF}" presName="rootComposite" presStyleCnt="0"/>
      <dgm:spPr/>
    </dgm:pt>
    <dgm:pt modelId="{B4215682-F069-4F19-825E-7D041A520FF4}" type="pres">
      <dgm:prSet presAssocID="{ADCB52E2-FC53-4432-9409-0C090750CDCF}" presName="rootText" presStyleLbl="node4" presStyleIdx="4" presStyleCnt="10" custLinFactNeighborY="7120">
        <dgm:presLayoutVars>
          <dgm:chPref val="3"/>
        </dgm:presLayoutVars>
      </dgm:prSet>
      <dgm:spPr/>
    </dgm:pt>
    <dgm:pt modelId="{391F9C7B-22BE-416E-988F-75FE456D8B47}" type="pres">
      <dgm:prSet presAssocID="{ADCB52E2-FC53-4432-9409-0C090750CDCF}" presName="rootConnector" presStyleLbl="node4" presStyleIdx="4" presStyleCnt="10"/>
      <dgm:spPr/>
    </dgm:pt>
    <dgm:pt modelId="{2609F8B0-152D-4259-8859-B46A31567BED}" type="pres">
      <dgm:prSet presAssocID="{ADCB52E2-FC53-4432-9409-0C090750CDCF}" presName="hierChild4" presStyleCnt="0"/>
      <dgm:spPr/>
    </dgm:pt>
    <dgm:pt modelId="{9ED0EFBD-2941-43E5-918C-8E5926CBAD97}" type="pres">
      <dgm:prSet presAssocID="{ADCB52E2-FC53-4432-9409-0C090750CDCF}" presName="hierChild5" presStyleCnt="0"/>
      <dgm:spPr/>
    </dgm:pt>
    <dgm:pt modelId="{97ED2495-69F0-493C-A0D9-C3034388E2B1}" type="pres">
      <dgm:prSet presAssocID="{E82B6303-68D2-4ED0-B432-DCBD64D28036}" presName="Name48" presStyleLbl="parChTrans1D4" presStyleIdx="5" presStyleCnt="10"/>
      <dgm:spPr/>
    </dgm:pt>
    <dgm:pt modelId="{6A1BD2B8-BE74-4EC4-8934-04753DDA9DE6}" type="pres">
      <dgm:prSet presAssocID="{5EBB1EE4-0CF1-46C6-AF8F-5725F9FF4CE2}" presName="hierRoot2" presStyleCnt="0">
        <dgm:presLayoutVars>
          <dgm:hierBranch val="hang"/>
        </dgm:presLayoutVars>
      </dgm:prSet>
      <dgm:spPr/>
    </dgm:pt>
    <dgm:pt modelId="{67C6F553-B0CD-4058-80ED-6EAD6D3AB7CD}" type="pres">
      <dgm:prSet presAssocID="{5EBB1EE4-0CF1-46C6-AF8F-5725F9FF4CE2}" presName="rootComposite" presStyleCnt="0"/>
      <dgm:spPr/>
    </dgm:pt>
    <dgm:pt modelId="{A2141FBE-E8BF-48C3-B38D-B67B4922653A}" type="pres">
      <dgm:prSet presAssocID="{5EBB1EE4-0CF1-46C6-AF8F-5725F9FF4CE2}" presName="rootText" presStyleLbl="node4" presStyleIdx="5" presStyleCnt="10" custLinFactNeighborY="7120">
        <dgm:presLayoutVars>
          <dgm:chPref val="3"/>
        </dgm:presLayoutVars>
      </dgm:prSet>
      <dgm:spPr/>
    </dgm:pt>
    <dgm:pt modelId="{D30AF3A6-CA95-447F-9C7C-4AB3B5EA2A89}" type="pres">
      <dgm:prSet presAssocID="{5EBB1EE4-0CF1-46C6-AF8F-5725F9FF4CE2}" presName="rootConnector" presStyleLbl="node4" presStyleIdx="5" presStyleCnt="10"/>
      <dgm:spPr/>
    </dgm:pt>
    <dgm:pt modelId="{AFD14D25-C0CF-4B4D-A5C7-09DF66E9BF29}" type="pres">
      <dgm:prSet presAssocID="{5EBB1EE4-0CF1-46C6-AF8F-5725F9FF4CE2}" presName="hierChild4" presStyleCnt="0"/>
      <dgm:spPr/>
    </dgm:pt>
    <dgm:pt modelId="{CD315D4E-41A6-4F15-ABDE-C07C278181DA}" type="pres">
      <dgm:prSet presAssocID="{5EBB1EE4-0CF1-46C6-AF8F-5725F9FF4CE2}" presName="hierChild5" presStyleCnt="0"/>
      <dgm:spPr/>
    </dgm:pt>
    <dgm:pt modelId="{516893EC-6F6D-4125-9E8B-DD8EA949D08E}" type="pres">
      <dgm:prSet presAssocID="{9A8F85CB-FE66-459F-BEB5-F5DD1B32C40F}" presName="Name48" presStyleLbl="parChTrans1D4" presStyleIdx="6" presStyleCnt="10"/>
      <dgm:spPr/>
    </dgm:pt>
    <dgm:pt modelId="{B774472D-5E3E-410A-9418-95627534DA7A}" type="pres">
      <dgm:prSet presAssocID="{BF47F3EC-9DB8-4A7C-AA4F-D2B708E62224}" presName="hierRoot2" presStyleCnt="0">
        <dgm:presLayoutVars>
          <dgm:hierBranch val="hang"/>
        </dgm:presLayoutVars>
      </dgm:prSet>
      <dgm:spPr/>
    </dgm:pt>
    <dgm:pt modelId="{44192703-71A3-450E-A6B6-47B0FBA3CBBD}" type="pres">
      <dgm:prSet presAssocID="{BF47F3EC-9DB8-4A7C-AA4F-D2B708E62224}" presName="rootComposite" presStyleCnt="0"/>
      <dgm:spPr/>
    </dgm:pt>
    <dgm:pt modelId="{03CB0DB2-EEDF-406B-8CC6-561EE0948774}" type="pres">
      <dgm:prSet presAssocID="{BF47F3EC-9DB8-4A7C-AA4F-D2B708E62224}" presName="rootText" presStyleLbl="node4" presStyleIdx="6" presStyleCnt="10" custLinFactNeighborY="-24816">
        <dgm:presLayoutVars>
          <dgm:chPref val="3"/>
        </dgm:presLayoutVars>
      </dgm:prSet>
      <dgm:spPr/>
    </dgm:pt>
    <dgm:pt modelId="{07300715-D0A3-4EE1-92DF-61CF9ADD5208}" type="pres">
      <dgm:prSet presAssocID="{BF47F3EC-9DB8-4A7C-AA4F-D2B708E62224}" presName="rootConnector" presStyleLbl="node4" presStyleIdx="6" presStyleCnt="10"/>
      <dgm:spPr/>
    </dgm:pt>
    <dgm:pt modelId="{16CE2A22-D8BC-43E2-8BEF-DB286178249F}" type="pres">
      <dgm:prSet presAssocID="{BF47F3EC-9DB8-4A7C-AA4F-D2B708E62224}" presName="hierChild4" presStyleCnt="0"/>
      <dgm:spPr/>
    </dgm:pt>
    <dgm:pt modelId="{C05521FB-E6B0-4B72-8226-AB1A1129465D}" type="pres">
      <dgm:prSet presAssocID="{BF47F3EC-9DB8-4A7C-AA4F-D2B708E62224}" presName="hierChild5" presStyleCnt="0"/>
      <dgm:spPr/>
    </dgm:pt>
    <dgm:pt modelId="{EAF7A6CA-4D2E-432F-A0E5-D6C97FD46AB5}" type="pres">
      <dgm:prSet presAssocID="{51C0F719-122B-4CC9-933C-EB4749BE198F}" presName="Name48" presStyleLbl="parChTrans1D4" presStyleIdx="7" presStyleCnt="10"/>
      <dgm:spPr/>
    </dgm:pt>
    <dgm:pt modelId="{68C20C0F-C6E3-4DEA-92DE-EE6A7E0647FB}" type="pres">
      <dgm:prSet presAssocID="{8A675DC8-8D07-4131-BEC3-C264CAF59B83}" presName="hierRoot2" presStyleCnt="0">
        <dgm:presLayoutVars>
          <dgm:hierBranch val="hang"/>
        </dgm:presLayoutVars>
      </dgm:prSet>
      <dgm:spPr/>
    </dgm:pt>
    <dgm:pt modelId="{0B1F1882-C3A8-4F07-AB45-5686E17581C4}" type="pres">
      <dgm:prSet presAssocID="{8A675DC8-8D07-4131-BEC3-C264CAF59B83}" presName="rootComposite" presStyleCnt="0"/>
      <dgm:spPr/>
    </dgm:pt>
    <dgm:pt modelId="{71EB6095-A7DF-488C-AC96-CA968036D846}" type="pres">
      <dgm:prSet presAssocID="{8A675DC8-8D07-4131-BEC3-C264CAF59B83}" presName="rootText" presStyleLbl="node4" presStyleIdx="7" presStyleCnt="10" custLinFactNeighborY="-24816">
        <dgm:presLayoutVars>
          <dgm:chPref val="3"/>
        </dgm:presLayoutVars>
      </dgm:prSet>
      <dgm:spPr/>
    </dgm:pt>
    <dgm:pt modelId="{78C0E697-6C66-4931-AE0C-434C6735A2A5}" type="pres">
      <dgm:prSet presAssocID="{8A675DC8-8D07-4131-BEC3-C264CAF59B83}" presName="rootConnector" presStyleLbl="node4" presStyleIdx="7" presStyleCnt="10"/>
      <dgm:spPr/>
    </dgm:pt>
    <dgm:pt modelId="{BB3E8AE1-6F65-4A21-9533-A53DB7CCF22D}" type="pres">
      <dgm:prSet presAssocID="{8A675DC8-8D07-4131-BEC3-C264CAF59B83}" presName="hierChild4" presStyleCnt="0"/>
      <dgm:spPr/>
    </dgm:pt>
    <dgm:pt modelId="{18BDBF88-361F-4470-B02C-220ABA1DD7EC}" type="pres">
      <dgm:prSet presAssocID="{8A675DC8-8D07-4131-BEC3-C264CAF59B83}" presName="hierChild5" presStyleCnt="0"/>
      <dgm:spPr/>
    </dgm:pt>
    <dgm:pt modelId="{A979FECF-BC0B-47BE-B10B-19CA1C929FB1}" type="pres">
      <dgm:prSet presAssocID="{A219EF19-9022-498E-8067-46D85874D092}" presName="Name48" presStyleLbl="parChTrans1D4" presStyleIdx="8" presStyleCnt="10"/>
      <dgm:spPr/>
    </dgm:pt>
    <dgm:pt modelId="{F3321B84-D744-4E29-B4B5-7A42108EF3C1}" type="pres">
      <dgm:prSet presAssocID="{E076B76E-B9B7-4C9F-B654-9052712BF48E}" presName="hierRoot2" presStyleCnt="0">
        <dgm:presLayoutVars>
          <dgm:hierBranch val="hang"/>
        </dgm:presLayoutVars>
      </dgm:prSet>
      <dgm:spPr/>
    </dgm:pt>
    <dgm:pt modelId="{35154550-426D-4336-B177-526F8EF4E59F}" type="pres">
      <dgm:prSet presAssocID="{E076B76E-B9B7-4C9F-B654-9052712BF48E}" presName="rootComposite" presStyleCnt="0"/>
      <dgm:spPr/>
    </dgm:pt>
    <dgm:pt modelId="{5D85EC3C-B95A-48C7-9772-747739BAD6D3}" type="pres">
      <dgm:prSet presAssocID="{E076B76E-B9B7-4C9F-B654-9052712BF48E}" presName="rootText" presStyleLbl="node4" presStyleIdx="8" presStyleCnt="10" custLinFactNeighborY="-52235">
        <dgm:presLayoutVars>
          <dgm:chPref val="3"/>
        </dgm:presLayoutVars>
      </dgm:prSet>
      <dgm:spPr/>
    </dgm:pt>
    <dgm:pt modelId="{80D1AA17-2A19-42B0-95B9-B90CA6F35783}" type="pres">
      <dgm:prSet presAssocID="{E076B76E-B9B7-4C9F-B654-9052712BF48E}" presName="rootConnector" presStyleLbl="node4" presStyleIdx="8" presStyleCnt="10"/>
      <dgm:spPr/>
    </dgm:pt>
    <dgm:pt modelId="{DBDCFD18-1388-42EC-9BF1-D185BADAE2B4}" type="pres">
      <dgm:prSet presAssocID="{E076B76E-B9B7-4C9F-B654-9052712BF48E}" presName="hierChild4" presStyleCnt="0"/>
      <dgm:spPr/>
    </dgm:pt>
    <dgm:pt modelId="{29B6F273-F53E-4371-8A89-8C733AFEB9AA}" type="pres">
      <dgm:prSet presAssocID="{E076B76E-B9B7-4C9F-B654-9052712BF48E}" presName="hierChild5" presStyleCnt="0"/>
      <dgm:spPr/>
    </dgm:pt>
    <dgm:pt modelId="{D3A54005-80E0-42AC-B84C-E093D1E2D8E7}" type="pres">
      <dgm:prSet presAssocID="{428E1C67-8080-4238-B2B5-E01A9C2E807D}" presName="Name48" presStyleLbl="parChTrans1D4" presStyleIdx="9" presStyleCnt="10"/>
      <dgm:spPr/>
    </dgm:pt>
    <dgm:pt modelId="{B34EDA81-2439-4F7B-AB41-1CF765E4D0CA}" type="pres">
      <dgm:prSet presAssocID="{CD73709F-B5FA-4395-8EBC-60DD33A7E58A}" presName="hierRoot2" presStyleCnt="0">
        <dgm:presLayoutVars>
          <dgm:hierBranch val="hang"/>
        </dgm:presLayoutVars>
      </dgm:prSet>
      <dgm:spPr/>
    </dgm:pt>
    <dgm:pt modelId="{04B55A0F-6010-4A43-ADEA-F7C9C13076E5}" type="pres">
      <dgm:prSet presAssocID="{CD73709F-B5FA-4395-8EBC-60DD33A7E58A}" presName="rootComposite" presStyleCnt="0"/>
      <dgm:spPr/>
    </dgm:pt>
    <dgm:pt modelId="{ACAC421F-3E64-408F-8B3A-21B2A52B6E47}" type="pres">
      <dgm:prSet presAssocID="{CD73709F-B5FA-4395-8EBC-60DD33A7E58A}" presName="rootText" presStyleLbl="node4" presStyleIdx="9" presStyleCnt="10" custLinFactNeighborY="-52235">
        <dgm:presLayoutVars>
          <dgm:chPref val="3"/>
        </dgm:presLayoutVars>
      </dgm:prSet>
      <dgm:spPr/>
    </dgm:pt>
    <dgm:pt modelId="{ADA87D10-3703-4DB3-8459-85165E6DD4DE}" type="pres">
      <dgm:prSet presAssocID="{CD73709F-B5FA-4395-8EBC-60DD33A7E58A}" presName="rootConnector" presStyleLbl="node4" presStyleIdx="9" presStyleCnt="10"/>
      <dgm:spPr/>
    </dgm:pt>
    <dgm:pt modelId="{721CC090-EF43-4313-8F30-1584F68B5EE7}" type="pres">
      <dgm:prSet presAssocID="{CD73709F-B5FA-4395-8EBC-60DD33A7E58A}" presName="hierChild4" presStyleCnt="0"/>
      <dgm:spPr/>
    </dgm:pt>
    <dgm:pt modelId="{5B0006E8-BBD0-48FC-9799-DD50D543D139}" type="pres">
      <dgm:prSet presAssocID="{CD73709F-B5FA-4395-8EBC-60DD33A7E58A}" presName="hierChild5" presStyleCnt="0"/>
      <dgm:spPr/>
    </dgm:pt>
    <dgm:pt modelId="{9C35750D-7AF5-4329-8F07-9920880B06D1}" type="pres">
      <dgm:prSet presAssocID="{AC42C8F1-9A58-40DA-9AA2-568538F4CED7}" presName="hierChild5" presStyleCnt="0"/>
      <dgm:spPr/>
    </dgm:pt>
    <dgm:pt modelId="{4D282FB7-76E7-45FB-92B0-AA8DA0C96F1F}" type="pres">
      <dgm:prSet presAssocID="{F1A01EE4-2499-4005-A091-C01F985C66B2}" presName="hierChild5" presStyleCnt="0"/>
      <dgm:spPr/>
    </dgm:pt>
    <dgm:pt modelId="{D3B547CA-56D6-49B9-AF2D-7223406F76A1}" type="pres">
      <dgm:prSet presAssocID="{45EA076C-D1A4-4CDA-A5B2-7108A3492C3C}" presName="hierChild3" presStyleCnt="0"/>
      <dgm:spPr/>
    </dgm:pt>
  </dgm:ptLst>
  <dgm:cxnLst>
    <dgm:cxn modelId="{3B9DD202-6E90-4EF1-B4B3-753B874CACF3}" srcId="{F1A01EE4-2499-4005-A091-C01F985C66B2}" destId="{AC42C8F1-9A58-40DA-9AA2-568538F4CED7}" srcOrd="0" destOrd="0" parTransId="{13558185-295C-4364-B621-1189DCE8F93E}" sibTransId="{3D30834B-F0B9-4C95-872E-1708587EBAC6}"/>
    <dgm:cxn modelId="{0F602509-54B5-471C-A5F5-B390DB461359}" type="presOf" srcId="{2191D5D0-7EA2-42DC-8C61-473717487231}" destId="{6C33D099-9787-4D15-B9ED-60D27916E647}" srcOrd="0" destOrd="0" presId="urn:microsoft.com/office/officeart/2005/8/layout/orgChart1"/>
    <dgm:cxn modelId="{BA459209-45FE-4375-BDCB-8B36710724D2}" type="presOf" srcId="{F1A01EE4-2499-4005-A091-C01F985C66B2}" destId="{0FF27ED0-5A3F-4147-B9B5-7239448D218A}" srcOrd="1" destOrd="0" presId="urn:microsoft.com/office/officeart/2005/8/layout/orgChart1"/>
    <dgm:cxn modelId="{D092510F-4F4B-4E5E-8614-1B7D54E01D72}" type="presOf" srcId="{2FC2DFB8-BE10-42E4-A7B3-3D5890162E79}" destId="{75A8B070-15C8-44BD-B9DB-E999A20E46AB}" srcOrd="0" destOrd="0" presId="urn:microsoft.com/office/officeart/2005/8/layout/orgChart1"/>
    <dgm:cxn modelId="{F9351620-74B5-47E5-95CC-1E9E2AFC2C06}" type="presOf" srcId="{CD73709F-B5FA-4395-8EBC-60DD33A7E58A}" destId="{ADA87D10-3703-4DB3-8459-85165E6DD4DE}" srcOrd="1" destOrd="0" presId="urn:microsoft.com/office/officeart/2005/8/layout/orgChart1"/>
    <dgm:cxn modelId="{2D2B9029-DD93-4D50-8A24-CC0AEC01840A}" type="presOf" srcId="{80285A4F-A984-4303-BE18-56930CB680C1}" destId="{4153772F-9A45-46D0-8C0D-F3F3E4814253}" srcOrd="0" destOrd="0" presId="urn:microsoft.com/office/officeart/2005/8/layout/orgChart1"/>
    <dgm:cxn modelId="{8334372A-D2BA-4860-ACD8-B75628BF3162}" type="presOf" srcId="{E82B6303-68D2-4ED0-B432-DCBD64D28036}" destId="{97ED2495-69F0-493C-A0D9-C3034388E2B1}" srcOrd="0" destOrd="0" presId="urn:microsoft.com/office/officeart/2005/8/layout/orgChart1"/>
    <dgm:cxn modelId="{A0B6BC38-0DCE-4B0A-95CE-468FB1137F54}" srcId="{AC42C8F1-9A58-40DA-9AA2-568538F4CED7}" destId="{8A675DC8-8D07-4131-BEC3-C264CAF59B83}" srcOrd="7" destOrd="0" parTransId="{51C0F719-122B-4CC9-933C-EB4749BE198F}" sibTransId="{CC3FD58D-92A3-4787-9BEA-83D248E5A1CF}"/>
    <dgm:cxn modelId="{77163A3A-BB41-4DB1-B922-2BECE7A70652}" type="presOf" srcId="{5EBB1EE4-0CF1-46C6-AF8F-5725F9FF4CE2}" destId="{D30AF3A6-CA95-447F-9C7C-4AB3B5EA2A89}" srcOrd="1" destOrd="0" presId="urn:microsoft.com/office/officeart/2005/8/layout/orgChart1"/>
    <dgm:cxn modelId="{A0606E3B-A746-465E-9CCE-C1015B4B05B7}" type="presOf" srcId="{ADCB52E2-FC53-4432-9409-0C090750CDCF}" destId="{B4215682-F069-4F19-825E-7D041A520FF4}" srcOrd="0" destOrd="0" presId="urn:microsoft.com/office/officeart/2005/8/layout/orgChart1"/>
    <dgm:cxn modelId="{30CA963D-8FC8-49A6-920F-DA0EE3CC16E8}" srcId="{AC42C8F1-9A58-40DA-9AA2-568538F4CED7}" destId="{2FC2DFB8-BE10-42E4-A7B3-3D5890162E79}" srcOrd="0" destOrd="0" parTransId="{160871BB-CE0F-4E7A-880A-8C27F7684950}" sibTransId="{54540B19-34C7-4A89-8C24-4E1C892F07B1}"/>
    <dgm:cxn modelId="{44424E5E-F39F-4D6B-9F61-3C6F7E08C94C}" type="presOf" srcId="{2FC2DFB8-BE10-42E4-A7B3-3D5890162E79}" destId="{F7CEBC9C-1246-4033-A9B7-A10233131615}" srcOrd="1" destOrd="0" presId="urn:microsoft.com/office/officeart/2005/8/layout/orgChart1"/>
    <dgm:cxn modelId="{84786741-7AEF-43C9-B70D-E316B47BFD43}" type="presOf" srcId="{65E09D22-2953-4BB3-8D23-C2976D46CEFF}" destId="{CE915928-9920-42A7-B5FB-4CF93145B426}" srcOrd="0" destOrd="0" presId="urn:microsoft.com/office/officeart/2005/8/layout/orgChart1"/>
    <dgm:cxn modelId="{D7E20165-BE62-49C5-83E7-471F72135053}" srcId="{AC42C8F1-9A58-40DA-9AA2-568538F4CED7}" destId="{5EBB1EE4-0CF1-46C6-AF8F-5725F9FF4CE2}" srcOrd="5" destOrd="0" parTransId="{E82B6303-68D2-4ED0-B432-DCBD64D28036}" sibTransId="{CD612CD0-2A4A-4CE3-90EB-C4058B8F17A2}"/>
    <dgm:cxn modelId="{B7478568-332B-4328-8164-A93FCA7D2942}" type="presOf" srcId="{2191D5D0-7EA2-42DC-8C61-473717487231}" destId="{8C664F96-C091-4073-B79C-2D17155B60FF}" srcOrd="1" destOrd="0" presId="urn:microsoft.com/office/officeart/2005/8/layout/orgChart1"/>
    <dgm:cxn modelId="{3EB6D04B-7436-474A-9883-E9448A682A4E}" srcId="{AC42C8F1-9A58-40DA-9AA2-568538F4CED7}" destId="{2191D5D0-7EA2-42DC-8C61-473717487231}" srcOrd="2" destOrd="0" parTransId="{0F44C884-4021-4793-AC8D-0B88BB9689A1}" sibTransId="{4AD024EA-0685-4F36-BA77-2D334F8450CF}"/>
    <dgm:cxn modelId="{98EB304D-4E1A-4472-95C0-67999DDC4D21}" type="presOf" srcId="{E92628A5-5E71-450B-AAFD-6753CF48F840}" destId="{775BBDE9-2F42-4A4B-ADE7-050D63DDF734}" srcOrd="0" destOrd="0" presId="urn:microsoft.com/office/officeart/2005/8/layout/orgChart1"/>
    <dgm:cxn modelId="{9025C46E-1EB5-44EB-AFC3-E399A24609DE}" srcId="{4F4175CC-94EA-47E7-98A0-62637CA5968A}" destId="{45EA076C-D1A4-4CDA-A5B2-7108A3492C3C}" srcOrd="0" destOrd="0" parTransId="{95F863D0-774C-4B53-85D1-961533EF4E92}" sibTransId="{CA608C78-7626-4AA8-BFB2-543C3AF235A5}"/>
    <dgm:cxn modelId="{B0E6E96E-33BD-49C8-AB9C-9CEC089F6946}" srcId="{AC42C8F1-9A58-40DA-9AA2-568538F4CED7}" destId="{CD73709F-B5FA-4395-8EBC-60DD33A7E58A}" srcOrd="9" destOrd="0" parTransId="{428E1C67-8080-4238-B2B5-E01A9C2E807D}" sibTransId="{31F9D7B9-D146-428B-A03A-E6FB4B2783A8}"/>
    <dgm:cxn modelId="{C172D24F-199A-4E7E-9DB0-A3543F8297E9}" type="presOf" srcId="{0F44C884-4021-4793-AC8D-0B88BB9689A1}" destId="{63EC9A02-80CE-47CF-9A07-FEF4151BEE66}" srcOrd="0" destOrd="0" presId="urn:microsoft.com/office/officeart/2005/8/layout/orgChart1"/>
    <dgm:cxn modelId="{9BCA5170-D0BD-4282-B0A1-8CA9E8A58B5E}" type="presOf" srcId="{4F4175CC-94EA-47E7-98A0-62637CA5968A}" destId="{4EAFD249-A5FE-4114-B9A7-1761CBB14632}" srcOrd="0" destOrd="0" presId="urn:microsoft.com/office/officeart/2005/8/layout/orgChart1"/>
    <dgm:cxn modelId="{958FAC50-A862-4BD8-BF34-C9A950455687}" type="presOf" srcId="{160871BB-CE0F-4E7A-880A-8C27F7684950}" destId="{DD80480C-8681-4872-BFB5-D3B79BAE56B0}" srcOrd="0" destOrd="0" presId="urn:microsoft.com/office/officeart/2005/8/layout/orgChart1"/>
    <dgm:cxn modelId="{DDEA6D53-9DD8-4982-B999-484E44458544}" srcId="{AC42C8F1-9A58-40DA-9AA2-568538F4CED7}" destId="{5AF0A1FA-5B91-417C-91F9-5CBD3B0AFF43}" srcOrd="1" destOrd="0" parTransId="{3D560C95-DDC3-4CAB-8C9A-77A797A3C526}" sibTransId="{FFBF274C-AD71-42F9-AEDF-F6C347067B9C}"/>
    <dgm:cxn modelId="{CC998053-510B-4586-8C62-2B7C28B73696}" type="presOf" srcId="{A219EF19-9022-498E-8067-46D85874D092}" destId="{A979FECF-BC0B-47BE-B10B-19CA1C929FB1}" srcOrd="0" destOrd="0" presId="urn:microsoft.com/office/officeart/2005/8/layout/orgChart1"/>
    <dgm:cxn modelId="{3AFA3175-DC69-4EAE-A16B-845962181079}" type="presOf" srcId="{428E1C67-8080-4238-B2B5-E01A9C2E807D}" destId="{D3A54005-80E0-42AC-B84C-E093D1E2D8E7}" srcOrd="0" destOrd="0" presId="urn:microsoft.com/office/officeart/2005/8/layout/orgChart1"/>
    <dgm:cxn modelId="{1B62CC76-85ED-4FCE-9B89-E613E1225386}" type="presOf" srcId="{45EA076C-D1A4-4CDA-A5B2-7108A3492C3C}" destId="{BADD7501-52DC-4DB3-8AA8-B56DE46658CD}" srcOrd="0" destOrd="0" presId="urn:microsoft.com/office/officeart/2005/8/layout/orgChart1"/>
    <dgm:cxn modelId="{B630D87B-719E-4588-94EE-524F7D6227BD}" type="presOf" srcId="{F1A01EE4-2499-4005-A091-C01F985C66B2}" destId="{A9257F9A-1AA0-4331-8581-E03BE91AB593}" srcOrd="0" destOrd="0" presId="urn:microsoft.com/office/officeart/2005/8/layout/orgChart1"/>
    <dgm:cxn modelId="{9B67837E-420E-42C5-960F-5396AAECAAB4}" type="presOf" srcId="{80285A4F-A984-4303-BE18-56930CB680C1}" destId="{C5276B05-2164-466C-AC7B-130B8A6285F3}" srcOrd="1" destOrd="0" presId="urn:microsoft.com/office/officeart/2005/8/layout/orgChart1"/>
    <dgm:cxn modelId="{5497DC8C-DB00-417D-88F1-B31E7542E309}" type="presOf" srcId="{AC42C8F1-9A58-40DA-9AA2-568538F4CED7}" destId="{C8F6DFC8-34D8-4298-8906-719E5AC27D9C}" srcOrd="0" destOrd="0" presId="urn:microsoft.com/office/officeart/2005/8/layout/orgChart1"/>
    <dgm:cxn modelId="{5095318D-663D-41C8-A58D-186FCB870108}" type="presOf" srcId="{BF47F3EC-9DB8-4A7C-AA4F-D2B708E62224}" destId="{07300715-D0A3-4EE1-92DF-61CF9ADD5208}" srcOrd="1" destOrd="0" presId="urn:microsoft.com/office/officeart/2005/8/layout/orgChart1"/>
    <dgm:cxn modelId="{FA6BAD91-C873-4692-9942-7E9ABC5303DE}" type="presOf" srcId="{9A8F85CB-FE66-459F-BEB5-F5DD1B32C40F}" destId="{516893EC-6F6D-4125-9E8B-DD8EA949D08E}" srcOrd="0" destOrd="0" presId="urn:microsoft.com/office/officeart/2005/8/layout/orgChart1"/>
    <dgm:cxn modelId="{DB394193-2253-4BBD-8B90-5BC674264113}" srcId="{AC42C8F1-9A58-40DA-9AA2-568538F4CED7}" destId="{BF47F3EC-9DB8-4A7C-AA4F-D2B708E62224}" srcOrd="6" destOrd="0" parTransId="{9A8F85CB-FE66-459F-BEB5-F5DD1B32C40F}" sibTransId="{91466F35-405B-4896-8384-AC638F5E5922}"/>
    <dgm:cxn modelId="{A0F47994-F9C8-4278-B660-19D080878F30}" type="presOf" srcId="{5AF0A1FA-5B91-417C-91F9-5CBD3B0AFF43}" destId="{9EBAD937-B7CD-44E9-B604-9224F5EB3126}" srcOrd="1" destOrd="0" presId="urn:microsoft.com/office/officeart/2005/8/layout/orgChart1"/>
    <dgm:cxn modelId="{7BBC049D-698C-4A6F-958D-3C6DE1D3A58F}" type="presOf" srcId="{E076B76E-B9B7-4C9F-B654-9052712BF48E}" destId="{5D85EC3C-B95A-48C7-9772-747739BAD6D3}" srcOrd="0" destOrd="0" presId="urn:microsoft.com/office/officeart/2005/8/layout/orgChart1"/>
    <dgm:cxn modelId="{11CE449F-ABD4-4A8F-8971-E2581B49B2F1}" type="presOf" srcId="{8A675DC8-8D07-4131-BEC3-C264CAF59B83}" destId="{78C0E697-6C66-4931-AE0C-434C6735A2A5}" srcOrd="1" destOrd="0" presId="urn:microsoft.com/office/officeart/2005/8/layout/orgChart1"/>
    <dgm:cxn modelId="{1A458DA9-B3AB-4E5C-9B71-793975AEA2B0}" type="presOf" srcId="{CD73709F-B5FA-4395-8EBC-60DD33A7E58A}" destId="{ACAC421F-3E64-408F-8B3A-21B2A52B6E47}" srcOrd="0" destOrd="0" presId="urn:microsoft.com/office/officeart/2005/8/layout/orgChart1"/>
    <dgm:cxn modelId="{633624AB-01A2-4D3E-B9ED-3DF7A2FF8E97}" type="presOf" srcId="{BF47F3EC-9DB8-4A7C-AA4F-D2B708E62224}" destId="{03CB0DB2-EEDF-406B-8CC6-561EE0948774}" srcOrd="0" destOrd="0" presId="urn:microsoft.com/office/officeart/2005/8/layout/orgChart1"/>
    <dgm:cxn modelId="{3D7BCDAB-DC78-443E-80E1-8AB40A496858}" srcId="{45EA076C-D1A4-4CDA-A5B2-7108A3492C3C}" destId="{F1A01EE4-2499-4005-A091-C01F985C66B2}" srcOrd="0" destOrd="0" parTransId="{65E09D22-2953-4BB3-8D23-C2976D46CEFF}" sibTransId="{A954FF72-29E3-4A78-A329-2782BAC933B6}"/>
    <dgm:cxn modelId="{1946E7AB-3D8A-42BC-85DA-12C33CD31395}" type="presOf" srcId="{3D560C95-DDC3-4CAB-8C9A-77A797A3C526}" destId="{7BCEB584-A533-496E-AB22-D26DD4C6DAD7}" srcOrd="0" destOrd="0" presId="urn:microsoft.com/office/officeart/2005/8/layout/orgChart1"/>
    <dgm:cxn modelId="{CA060DB3-C49C-4440-AE4C-5EC5D1807A1E}" type="presOf" srcId="{5EBB1EE4-0CF1-46C6-AF8F-5725F9FF4CE2}" destId="{A2141FBE-E8BF-48C3-B38D-B67B4922653A}" srcOrd="0" destOrd="0" presId="urn:microsoft.com/office/officeart/2005/8/layout/orgChart1"/>
    <dgm:cxn modelId="{F7F787B6-DBA9-4F1A-B5E5-A3D196FCAD4C}" type="presOf" srcId="{ADCB52E2-FC53-4432-9409-0C090750CDCF}" destId="{391F9C7B-22BE-416E-988F-75FE456D8B47}" srcOrd="1" destOrd="0" presId="urn:microsoft.com/office/officeart/2005/8/layout/orgChart1"/>
    <dgm:cxn modelId="{B5A3F1B8-EC2C-4595-9509-6C906323A038}" srcId="{AC42C8F1-9A58-40DA-9AA2-568538F4CED7}" destId="{ADCB52E2-FC53-4432-9409-0C090750CDCF}" srcOrd="4" destOrd="0" parTransId="{6DD2F2CF-CE1C-4B08-BB3A-B252729C3BFB}" sibTransId="{BD1C5D5C-AA58-4E3D-89EE-230CCDBF3839}"/>
    <dgm:cxn modelId="{26A51BBF-33E5-4711-BACE-9B9D422F3833}" type="presOf" srcId="{6DD2F2CF-CE1C-4B08-BB3A-B252729C3BFB}" destId="{AD09FE6D-8559-4112-B885-80DDC6F37DC0}" srcOrd="0" destOrd="0" presId="urn:microsoft.com/office/officeart/2005/8/layout/orgChart1"/>
    <dgm:cxn modelId="{7A9DC9C0-60DF-48DB-8231-6FBE61590345}" srcId="{AC42C8F1-9A58-40DA-9AA2-568538F4CED7}" destId="{E076B76E-B9B7-4C9F-B654-9052712BF48E}" srcOrd="8" destOrd="0" parTransId="{A219EF19-9022-498E-8067-46D85874D092}" sibTransId="{40385060-159A-46A7-B41F-CF7065304BEB}"/>
    <dgm:cxn modelId="{989EC3CC-9998-4BAC-8509-4F6F68BA8C30}" type="presOf" srcId="{AC42C8F1-9A58-40DA-9AA2-568538F4CED7}" destId="{A890048C-9C3C-4871-BA65-8A14C725F520}" srcOrd="1" destOrd="0" presId="urn:microsoft.com/office/officeart/2005/8/layout/orgChart1"/>
    <dgm:cxn modelId="{E0E9BDD3-CC17-40C3-8156-21EDFF0BCB0E}" type="presOf" srcId="{51C0F719-122B-4CC9-933C-EB4749BE198F}" destId="{EAF7A6CA-4D2E-432F-A0E5-D6C97FD46AB5}" srcOrd="0" destOrd="0" presId="urn:microsoft.com/office/officeart/2005/8/layout/orgChart1"/>
    <dgm:cxn modelId="{EC1CE6DB-37F3-467E-9108-E7ED4B08F87B}" type="presOf" srcId="{8A675DC8-8D07-4131-BEC3-C264CAF59B83}" destId="{71EB6095-A7DF-488C-AC96-CA968036D846}" srcOrd="0" destOrd="0" presId="urn:microsoft.com/office/officeart/2005/8/layout/orgChart1"/>
    <dgm:cxn modelId="{5A1EC1DC-CCDE-4107-B872-57C4836045A4}" type="presOf" srcId="{45EA076C-D1A4-4CDA-A5B2-7108A3492C3C}" destId="{C3478F76-C0B5-4A84-8AFD-EFAFC6D52FA5}" srcOrd="1" destOrd="0" presId="urn:microsoft.com/office/officeart/2005/8/layout/orgChart1"/>
    <dgm:cxn modelId="{90F83DE2-BA83-4DBE-81D8-B8AB50274114}" srcId="{AC42C8F1-9A58-40DA-9AA2-568538F4CED7}" destId="{80285A4F-A984-4303-BE18-56930CB680C1}" srcOrd="3" destOrd="0" parTransId="{E92628A5-5E71-450B-AAFD-6753CF48F840}" sibTransId="{F36C6C95-75CA-475E-864E-CD88809E3764}"/>
    <dgm:cxn modelId="{A3270CE4-D538-4B80-99E4-BF1D448A8BB5}" type="presOf" srcId="{13558185-295C-4364-B621-1189DCE8F93E}" destId="{B6D87D60-8CF8-460F-B992-3A64FD60D012}" srcOrd="0" destOrd="0" presId="urn:microsoft.com/office/officeart/2005/8/layout/orgChart1"/>
    <dgm:cxn modelId="{5F81B1E8-B7B6-4144-9C5E-B42DFCF89AD3}" type="presOf" srcId="{E076B76E-B9B7-4C9F-B654-9052712BF48E}" destId="{80D1AA17-2A19-42B0-95B9-B90CA6F35783}" srcOrd="1" destOrd="0" presId="urn:microsoft.com/office/officeart/2005/8/layout/orgChart1"/>
    <dgm:cxn modelId="{599BA3F6-0E08-485D-947B-BF85BAF4C7FC}" type="presOf" srcId="{5AF0A1FA-5B91-417C-91F9-5CBD3B0AFF43}" destId="{0C8A147E-B514-4BC2-9C9B-06D3954E0EEA}" srcOrd="0" destOrd="0" presId="urn:microsoft.com/office/officeart/2005/8/layout/orgChart1"/>
    <dgm:cxn modelId="{C992FADE-C419-42CD-96AF-7878154960DA}" type="presParOf" srcId="{4EAFD249-A5FE-4114-B9A7-1761CBB14632}" destId="{FB2ED49D-8313-4371-B675-51680636DAAD}" srcOrd="0" destOrd="0" presId="urn:microsoft.com/office/officeart/2005/8/layout/orgChart1"/>
    <dgm:cxn modelId="{C20B9A90-D9E4-46F6-A5CF-81AC6E0478D5}" type="presParOf" srcId="{FB2ED49D-8313-4371-B675-51680636DAAD}" destId="{5FB82650-D47A-480F-A2B5-8816B3AD45C6}" srcOrd="0" destOrd="0" presId="urn:microsoft.com/office/officeart/2005/8/layout/orgChart1"/>
    <dgm:cxn modelId="{841235FC-A575-42D6-8F71-E4D1FF835B3C}" type="presParOf" srcId="{5FB82650-D47A-480F-A2B5-8816B3AD45C6}" destId="{BADD7501-52DC-4DB3-8AA8-B56DE46658CD}" srcOrd="0" destOrd="0" presId="urn:microsoft.com/office/officeart/2005/8/layout/orgChart1"/>
    <dgm:cxn modelId="{2FC08156-8D7C-4D24-B275-5AA716B91EE9}" type="presParOf" srcId="{5FB82650-D47A-480F-A2B5-8816B3AD45C6}" destId="{C3478F76-C0B5-4A84-8AFD-EFAFC6D52FA5}" srcOrd="1" destOrd="0" presId="urn:microsoft.com/office/officeart/2005/8/layout/orgChart1"/>
    <dgm:cxn modelId="{E7636622-9BC9-481B-8BF0-AA3FF5F5FEB1}" type="presParOf" srcId="{FB2ED49D-8313-4371-B675-51680636DAAD}" destId="{464DA5D8-D85D-41D1-9DF6-25E17E65329B}" srcOrd="1" destOrd="0" presId="urn:microsoft.com/office/officeart/2005/8/layout/orgChart1"/>
    <dgm:cxn modelId="{E885E5DA-0305-4A3A-B83E-2CD17ABFA63B}" type="presParOf" srcId="{464DA5D8-D85D-41D1-9DF6-25E17E65329B}" destId="{CE915928-9920-42A7-B5FB-4CF93145B426}" srcOrd="0" destOrd="0" presId="urn:microsoft.com/office/officeart/2005/8/layout/orgChart1"/>
    <dgm:cxn modelId="{C0ECBCF8-59D9-443F-BDE8-78402F290AA7}" type="presParOf" srcId="{464DA5D8-D85D-41D1-9DF6-25E17E65329B}" destId="{3C704719-5F6E-4E28-887F-1B445C52BEAA}" srcOrd="1" destOrd="0" presId="urn:microsoft.com/office/officeart/2005/8/layout/orgChart1"/>
    <dgm:cxn modelId="{AB376A39-3EAE-46A4-A0D4-27E9A16C0397}" type="presParOf" srcId="{3C704719-5F6E-4E28-887F-1B445C52BEAA}" destId="{6611DFD4-6DEB-4F04-BFC8-F123E31A161B}" srcOrd="0" destOrd="0" presId="urn:microsoft.com/office/officeart/2005/8/layout/orgChart1"/>
    <dgm:cxn modelId="{94154031-F021-4A58-926B-9EAB8CA48D92}" type="presParOf" srcId="{6611DFD4-6DEB-4F04-BFC8-F123E31A161B}" destId="{A9257F9A-1AA0-4331-8581-E03BE91AB593}" srcOrd="0" destOrd="0" presId="urn:microsoft.com/office/officeart/2005/8/layout/orgChart1"/>
    <dgm:cxn modelId="{3D21CDAF-8789-4E1D-986C-07FE6B900EA0}" type="presParOf" srcId="{6611DFD4-6DEB-4F04-BFC8-F123E31A161B}" destId="{0FF27ED0-5A3F-4147-B9B5-7239448D218A}" srcOrd="1" destOrd="0" presId="urn:microsoft.com/office/officeart/2005/8/layout/orgChart1"/>
    <dgm:cxn modelId="{57B9FF83-51DD-41A8-A2B9-1E9108257526}" type="presParOf" srcId="{3C704719-5F6E-4E28-887F-1B445C52BEAA}" destId="{B6F80BD1-3742-418C-904A-4BA5671640BA}" srcOrd="1" destOrd="0" presId="urn:microsoft.com/office/officeart/2005/8/layout/orgChart1"/>
    <dgm:cxn modelId="{68F9BE9E-C9C1-4BF2-BA17-5A687322F88F}" type="presParOf" srcId="{B6F80BD1-3742-418C-904A-4BA5671640BA}" destId="{B6D87D60-8CF8-460F-B992-3A64FD60D012}" srcOrd="0" destOrd="0" presId="urn:microsoft.com/office/officeart/2005/8/layout/orgChart1"/>
    <dgm:cxn modelId="{1C6035A9-63F1-46AE-BC48-A5E91855FD23}" type="presParOf" srcId="{B6F80BD1-3742-418C-904A-4BA5671640BA}" destId="{02ACDDEF-D34B-4E80-9FF8-F94DBBA50745}" srcOrd="1" destOrd="0" presId="urn:microsoft.com/office/officeart/2005/8/layout/orgChart1"/>
    <dgm:cxn modelId="{3E160D66-CAD5-49BD-9E7C-477EC8B892FD}" type="presParOf" srcId="{02ACDDEF-D34B-4E80-9FF8-F94DBBA50745}" destId="{3C296B11-9518-4FF8-A7B7-C4F3C4E11748}" srcOrd="0" destOrd="0" presId="urn:microsoft.com/office/officeart/2005/8/layout/orgChart1"/>
    <dgm:cxn modelId="{479D3651-0107-4D69-BAB0-9599A150FA25}" type="presParOf" srcId="{3C296B11-9518-4FF8-A7B7-C4F3C4E11748}" destId="{C8F6DFC8-34D8-4298-8906-719E5AC27D9C}" srcOrd="0" destOrd="0" presId="urn:microsoft.com/office/officeart/2005/8/layout/orgChart1"/>
    <dgm:cxn modelId="{11FD20D1-D29B-4A17-9FA0-4BD56239F5A7}" type="presParOf" srcId="{3C296B11-9518-4FF8-A7B7-C4F3C4E11748}" destId="{A890048C-9C3C-4871-BA65-8A14C725F520}" srcOrd="1" destOrd="0" presId="urn:microsoft.com/office/officeart/2005/8/layout/orgChart1"/>
    <dgm:cxn modelId="{566B2683-536B-4306-9969-1D4E343A2635}" type="presParOf" srcId="{02ACDDEF-D34B-4E80-9FF8-F94DBBA50745}" destId="{10FDA31E-3DDA-44C5-A1D2-AA76EC7D51AE}" srcOrd="1" destOrd="0" presId="urn:microsoft.com/office/officeart/2005/8/layout/orgChart1"/>
    <dgm:cxn modelId="{5BD58C88-A329-4AD7-9C81-C2A42368CD12}" type="presParOf" srcId="{10FDA31E-3DDA-44C5-A1D2-AA76EC7D51AE}" destId="{DD80480C-8681-4872-BFB5-D3B79BAE56B0}" srcOrd="0" destOrd="0" presId="urn:microsoft.com/office/officeart/2005/8/layout/orgChart1"/>
    <dgm:cxn modelId="{6B2B2090-75C5-449D-A7B7-E62659F7587A}" type="presParOf" srcId="{10FDA31E-3DDA-44C5-A1D2-AA76EC7D51AE}" destId="{D09F303F-DCCA-42FC-84EB-438BEDAE2C30}" srcOrd="1" destOrd="0" presId="urn:microsoft.com/office/officeart/2005/8/layout/orgChart1"/>
    <dgm:cxn modelId="{4D057087-1D93-49C9-80F5-C9A0509BD455}" type="presParOf" srcId="{D09F303F-DCCA-42FC-84EB-438BEDAE2C30}" destId="{2D170630-B6B5-4684-B63B-BD894BA68C40}" srcOrd="0" destOrd="0" presId="urn:microsoft.com/office/officeart/2005/8/layout/orgChart1"/>
    <dgm:cxn modelId="{9822E4EA-2EE6-48E0-85A0-1AD079F5D6AD}" type="presParOf" srcId="{2D170630-B6B5-4684-B63B-BD894BA68C40}" destId="{75A8B070-15C8-44BD-B9DB-E999A20E46AB}" srcOrd="0" destOrd="0" presId="urn:microsoft.com/office/officeart/2005/8/layout/orgChart1"/>
    <dgm:cxn modelId="{E89CCB87-6DCF-4E0E-82FA-D30878EBF585}" type="presParOf" srcId="{2D170630-B6B5-4684-B63B-BD894BA68C40}" destId="{F7CEBC9C-1246-4033-A9B7-A10233131615}" srcOrd="1" destOrd="0" presId="urn:microsoft.com/office/officeart/2005/8/layout/orgChart1"/>
    <dgm:cxn modelId="{46185144-43CB-4AEE-92E1-BE344C116A06}" type="presParOf" srcId="{D09F303F-DCCA-42FC-84EB-438BEDAE2C30}" destId="{5D04E14B-53EB-4E15-BB15-9E9120227CBA}" srcOrd="1" destOrd="0" presId="urn:microsoft.com/office/officeart/2005/8/layout/orgChart1"/>
    <dgm:cxn modelId="{A922AB23-57D6-406E-8D4C-F1A25CED64A5}" type="presParOf" srcId="{D09F303F-DCCA-42FC-84EB-438BEDAE2C30}" destId="{4449EDF6-D4A3-4BF1-B5C9-D3DA3C2A537C}" srcOrd="2" destOrd="0" presId="urn:microsoft.com/office/officeart/2005/8/layout/orgChart1"/>
    <dgm:cxn modelId="{A7BF1A4C-2E28-4B93-91F5-4579602FAA47}" type="presParOf" srcId="{10FDA31E-3DDA-44C5-A1D2-AA76EC7D51AE}" destId="{7BCEB584-A533-496E-AB22-D26DD4C6DAD7}" srcOrd="2" destOrd="0" presId="urn:microsoft.com/office/officeart/2005/8/layout/orgChart1"/>
    <dgm:cxn modelId="{EB172524-B9C0-47F9-A216-C3BCB17FA189}" type="presParOf" srcId="{10FDA31E-3DDA-44C5-A1D2-AA76EC7D51AE}" destId="{667F82C5-532E-4BC5-8D4B-6A86B90F2230}" srcOrd="3" destOrd="0" presId="urn:microsoft.com/office/officeart/2005/8/layout/orgChart1"/>
    <dgm:cxn modelId="{E5570262-B50B-4571-8772-9B91209BDDD6}" type="presParOf" srcId="{667F82C5-532E-4BC5-8D4B-6A86B90F2230}" destId="{65A55924-692F-40B7-8B3E-535DFB6334D0}" srcOrd="0" destOrd="0" presId="urn:microsoft.com/office/officeart/2005/8/layout/orgChart1"/>
    <dgm:cxn modelId="{8FE642C0-9088-4F7E-A333-37F62A325D12}" type="presParOf" srcId="{65A55924-692F-40B7-8B3E-535DFB6334D0}" destId="{0C8A147E-B514-4BC2-9C9B-06D3954E0EEA}" srcOrd="0" destOrd="0" presId="urn:microsoft.com/office/officeart/2005/8/layout/orgChart1"/>
    <dgm:cxn modelId="{763F8AA4-4F94-48FA-8E91-A7C32F8D8671}" type="presParOf" srcId="{65A55924-692F-40B7-8B3E-535DFB6334D0}" destId="{9EBAD937-B7CD-44E9-B604-9224F5EB3126}" srcOrd="1" destOrd="0" presId="urn:microsoft.com/office/officeart/2005/8/layout/orgChart1"/>
    <dgm:cxn modelId="{1940EBC6-4D88-4283-8F9A-974609342F7C}" type="presParOf" srcId="{667F82C5-532E-4BC5-8D4B-6A86B90F2230}" destId="{8FEF890F-1748-4A7C-91BB-7C172D62BE44}" srcOrd="1" destOrd="0" presId="urn:microsoft.com/office/officeart/2005/8/layout/orgChart1"/>
    <dgm:cxn modelId="{A2AD8544-102F-4935-8896-737DA7F36599}" type="presParOf" srcId="{667F82C5-532E-4BC5-8D4B-6A86B90F2230}" destId="{515FD926-EDEC-4044-8960-6A4E0EFDCCB0}" srcOrd="2" destOrd="0" presId="urn:microsoft.com/office/officeart/2005/8/layout/orgChart1"/>
    <dgm:cxn modelId="{3EAE8818-B34F-46A2-BD1B-8A5ADFA4AED5}" type="presParOf" srcId="{10FDA31E-3DDA-44C5-A1D2-AA76EC7D51AE}" destId="{63EC9A02-80CE-47CF-9A07-FEF4151BEE66}" srcOrd="4" destOrd="0" presId="urn:microsoft.com/office/officeart/2005/8/layout/orgChart1"/>
    <dgm:cxn modelId="{3B36D86C-7EED-49B8-A23A-9284E2519789}" type="presParOf" srcId="{10FDA31E-3DDA-44C5-A1D2-AA76EC7D51AE}" destId="{A5B929C8-2C6E-49DC-A0BC-5691D69CFD98}" srcOrd="5" destOrd="0" presId="urn:microsoft.com/office/officeart/2005/8/layout/orgChart1"/>
    <dgm:cxn modelId="{EB46272C-D67D-4018-82B3-3B9547A367E0}" type="presParOf" srcId="{A5B929C8-2C6E-49DC-A0BC-5691D69CFD98}" destId="{E7DB7E93-EFF4-43F5-A10D-1E64E4B75FF2}" srcOrd="0" destOrd="0" presId="urn:microsoft.com/office/officeart/2005/8/layout/orgChart1"/>
    <dgm:cxn modelId="{338D9E4F-8A4A-4352-883F-C641DF61AAFA}" type="presParOf" srcId="{E7DB7E93-EFF4-43F5-A10D-1E64E4B75FF2}" destId="{6C33D099-9787-4D15-B9ED-60D27916E647}" srcOrd="0" destOrd="0" presId="urn:microsoft.com/office/officeart/2005/8/layout/orgChart1"/>
    <dgm:cxn modelId="{7E0913D7-A0AE-4C88-82DB-2BF491627FF7}" type="presParOf" srcId="{E7DB7E93-EFF4-43F5-A10D-1E64E4B75FF2}" destId="{8C664F96-C091-4073-B79C-2D17155B60FF}" srcOrd="1" destOrd="0" presId="urn:microsoft.com/office/officeart/2005/8/layout/orgChart1"/>
    <dgm:cxn modelId="{30ED8018-2FD2-43A9-9461-0251BA99B353}" type="presParOf" srcId="{A5B929C8-2C6E-49DC-A0BC-5691D69CFD98}" destId="{5589F1E6-0922-46C5-8D86-50C6E14CE6D9}" srcOrd="1" destOrd="0" presId="urn:microsoft.com/office/officeart/2005/8/layout/orgChart1"/>
    <dgm:cxn modelId="{01836A36-AE15-4B08-A487-5DF612D3FF69}" type="presParOf" srcId="{A5B929C8-2C6E-49DC-A0BC-5691D69CFD98}" destId="{10742F9E-5B8E-4C7F-AF82-8027554F26EF}" srcOrd="2" destOrd="0" presId="urn:microsoft.com/office/officeart/2005/8/layout/orgChart1"/>
    <dgm:cxn modelId="{E309E33F-6F61-4EAB-86ED-DD34A61855FA}" type="presParOf" srcId="{10FDA31E-3DDA-44C5-A1D2-AA76EC7D51AE}" destId="{775BBDE9-2F42-4A4B-ADE7-050D63DDF734}" srcOrd="6" destOrd="0" presId="urn:microsoft.com/office/officeart/2005/8/layout/orgChart1"/>
    <dgm:cxn modelId="{5F3FF7CD-9A01-4737-9A11-35161D26B53A}" type="presParOf" srcId="{10FDA31E-3DDA-44C5-A1D2-AA76EC7D51AE}" destId="{08CC1256-DAA5-4FF7-90E5-0ACAD3C7CC9E}" srcOrd="7" destOrd="0" presId="urn:microsoft.com/office/officeart/2005/8/layout/orgChart1"/>
    <dgm:cxn modelId="{507C80E4-C77C-48CA-87C1-8797D0FFC08A}" type="presParOf" srcId="{08CC1256-DAA5-4FF7-90E5-0ACAD3C7CC9E}" destId="{2446FEEC-663B-4077-8913-E69BF7674F0C}" srcOrd="0" destOrd="0" presId="urn:microsoft.com/office/officeart/2005/8/layout/orgChart1"/>
    <dgm:cxn modelId="{4FA8C4BD-E768-4520-8B0D-6EC78DF9471C}" type="presParOf" srcId="{2446FEEC-663B-4077-8913-E69BF7674F0C}" destId="{4153772F-9A45-46D0-8C0D-F3F3E4814253}" srcOrd="0" destOrd="0" presId="urn:microsoft.com/office/officeart/2005/8/layout/orgChart1"/>
    <dgm:cxn modelId="{5DCE19F1-209F-422D-A417-C6B84F281F40}" type="presParOf" srcId="{2446FEEC-663B-4077-8913-E69BF7674F0C}" destId="{C5276B05-2164-466C-AC7B-130B8A6285F3}" srcOrd="1" destOrd="0" presId="urn:microsoft.com/office/officeart/2005/8/layout/orgChart1"/>
    <dgm:cxn modelId="{1BE35240-C749-4491-9D63-F757BA9AADF5}" type="presParOf" srcId="{08CC1256-DAA5-4FF7-90E5-0ACAD3C7CC9E}" destId="{B7B23A04-EF7C-4178-95F7-65754237BD02}" srcOrd="1" destOrd="0" presId="urn:microsoft.com/office/officeart/2005/8/layout/orgChart1"/>
    <dgm:cxn modelId="{CBA8A930-9D9D-4569-812C-EE68612486D8}" type="presParOf" srcId="{08CC1256-DAA5-4FF7-90E5-0ACAD3C7CC9E}" destId="{D70D90D1-D58D-4A18-A9D8-488B5D5BF5B3}" srcOrd="2" destOrd="0" presId="urn:microsoft.com/office/officeart/2005/8/layout/orgChart1"/>
    <dgm:cxn modelId="{29EE272C-80F9-49F9-BC46-FEDFF0EFCEC6}" type="presParOf" srcId="{10FDA31E-3DDA-44C5-A1D2-AA76EC7D51AE}" destId="{AD09FE6D-8559-4112-B885-80DDC6F37DC0}" srcOrd="8" destOrd="0" presId="urn:microsoft.com/office/officeart/2005/8/layout/orgChart1"/>
    <dgm:cxn modelId="{1DE7ADC9-3B37-4558-82F3-A5AB2D111673}" type="presParOf" srcId="{10FDA31E-3DDA-44C5-A1D2-AA76EC7D51AE}" destId="{CA2E5EDF-9108-4F97-B173-927037D78F73}" srcOrd="9" destOrd="0" presId="urn:microsoft.com/office/officeart/2005/8/layout/orgChart1"/>
    <dgm:cxn modelId="{3354357C-7A1E-485F-A585-4E38108B5B3B}" type="presParOf" srcId="{CA2E5EDF-9108-4F97-B173-927037D78F73}" destId="{2B34DC8D-46FA-4507-9AA7-20894F8C3CFE}" srcOrd="0" destOrd="0" presId="urn:microsoft.com/office/officeart/2005/8/layout/orgChart1"/>
    <dgm:cxn modelId="{36E46211-636B-4A6E-BF31-970E501A065B}" type="presParOf" srcId="{2B34DC8D-46FA-4507-9AA7-20894F8C3CFE}" destId="{B4215682-F069-4F19-825E-7D041A520FF4}" srcOrd="0" destOrd="0" presId="urn:microsoft.com/office/officeart/2005/8/layout/orgChart1"/>
    <dgm:cxn modelId="{B9C90890-A002-4A82-B1AA-064939A820F6}" type="presParOf" srcId="{2B34DC8D-46FA-4507-9AA7-20894F8C3CFE}" destId="{391F9C7B-22BE-416E-988F-75FE456D8B47}" srcOrd="1" destOrd="0" presId="urn:microsoft.com/office/officeart/2005/8/layout/orgChart1"/>
    <dgm:cxn modelId="{4588D913-6F9C-4B71-A049-531DB4A4D60C}" type="presParOf" srcId="{CA2E5EDF-9108-4F97-B173-927037D78F73}" destId="{2609F8B0-152D-4259-8859-B46A31567BED}" srcOrd="1" destOrd="0" presId="urn:microsoft.com/office/officeart/2005/8/layout/orgChart1"/>
    <dgm:cxn modelId="{B3C892FF-4A03-426D-A9F8-C236D59B42FA}" type="presParOf" srcId="{CA2E5EDF-9108-4F97-B173-927037D78F73}" destId="{9ED0EFBD-2941-43E5-918C-8E5926CBAD97}" srcOrd="2" destOrd="0" presId="urn:microsoft.com/office/officeart/2005/8/layout/orgChart1"/>
    <dgm:cxn modelId="{361CF514-2776-4816-B619-55B1833B992F}" type="presParOf" srcId="{10FDA31E-3DDA-44C5-A1D2-AA76EC7D51AE}" destId="{97ED2495-69F0-493C-A0D9-C3034388E2B1}" srcOrd="10" destOrd="0" presId="urn:microsoft.com/office/officeart/2005/8/layout/orgChart1"/>
    <dgm:cxn modelId="{90161341-0C96-4F40-93C9-4D996732487A}" type="presParOf" srcId="{10FDA31E-3DDA-44C5-A1D2-AA76EC7D51AE}" destId="{6A1BD2B8-BE74-4EC4-8934-04753DDA9DE6}" srcOrd="11" destOrd="0" presId="urn:microsoft.com/office/officeart/2005/8/layout/orgChart1"/>
    <dgm:cxn modelId="{EAE62C11-FB93-4C06-BB25-58004AC18AD2}" type="presParOf" srcId="{6A1BD2B8-BE74-4EC4-8934-04753DDA9DE6}" destId="{67C6F553-B0CD-4058-80ED-6EAD6D3AB7CD}" srcOrd="0" destOrd="0" presId="urn:microsoft.com/office/officeart/2005/8/layout/orgChart1"/>
    <dgm:cxn modelId="{399363C4-4D73-429C-8578-C1DEDB9BC888}" type="presParOf" srcId="{67C6F553-B0CD-4058-80ED-6EAD6D3AB7CD}" destId="{A2141FBE-E8BF-48C3-B38D-B67B4922653A}" srcOrd="0" destOrd="0" presId="urn:microsoft.com/office/officeart/2005/8/layout/orgChart1"/>
    <dgm:cxn modelId="{3B843E88-948A-4291-9692-B884C7D3B992}" type="presParOf" srcId="{67C6F553-B0CD-4058-80ED-6EAD6D3AB7CD}" destId="{D30AF3A6-CA95-447F-9C7C-4AB3B5EA2A89}" srcOrd="1" destOrd="0" presId="urn:microsoft.com/office/officeart/2005/8/layout/orgChart1"/>
    <dgm:cxn modelId="{AB9ED4F2-0D13-4389-940A-AEEDA44D5258}" type="presParOf" srcId="{6A1BD2B8-BE74-4EC4-8934-04753DDA9DE6}" destId="{AFD14D25-C0CF-4B4D-A5C7-09DF66E9BF29}" srcOrd="1" destOrd="0" presId="urn:microsoft.com/office/officeart/2005/8/layout/orgChart1"/>
    <dgm:cxn modelId="{124C7A72-5A53-4FAF-A5FC-4F8563D5A0E0}" type="presParOf" srcId="{6A1BD2B8-BE74-4EC4-8934-04753DDA9DE6}" destId="{CD315D4E-41A6-4F15-ABDE-C07C278181DA}" srcOrd="2" destOrd="0" presId="urn:microsoft.com/office/officeart/2005/8/layout/orgChart1"/>
    <dgm:cxn modelId="{F4DAAF2D-2FFD-47CD-B72D-D3235AAC5625}" type="presParOf" srcId="{10FDA31E-3DDA-44C5-A1D2-AA76EC7D51AE}" destId="{516893EC-6F6D-4125-9E8B-DD8EA949D08E}" srcOrd="12" destOrd="0" presId="urn:microsoft.com/office/officeart/2005/8/layout/orgChart1"/>
    <dgm:cxn modelId="{B11CAD45-7E68-49D2-803C-C2AA0D74BB55}" type="presParOf" srcId="{10FDA31E-3DDA-44C5-A1D2-AA76EC7D51AE}" destId="{B774472D-5E3E-410A-9418-95627534DA7A}" srcOrd="13" destOrd="0" presId="urn:microsoft.com/office/officeart/2005/8/layout/orgChart1"/>
    <dgm:cxn modelId="{13460C48-D165-497B-B748-825839246F2B}" type="presParOf" srcId="{B774472D-5E3E-410A-9418-95627534DA7A}" destId="{44192703-71A3-450E-A6B6-47B0FBA3CBBD}" srcOrd="0" destOrd="0" presId="urn:microsoft.com/office/officeart/2005/8/layout/orgChart1"/>
    <dgm:cxn modelId="{709E8686-DE4A-4C7C-AB99-4F4F90EBA671}" type="presParOf" srcId="{44192703-71A3-450E-A6B6-47B0FBA3CBBD}" destId="{03CB0DB2-EEDF-406B-8CC6-561EE0948774}" srcOrd="0" destOrd="0" presId="urn:microsoft.com/office/officeart/2005/8/layout/orgChart1"/>
    <dgm:cxn modelId="{33B54BCE-8C58-4D2B-AB40-31AF81B5AE99}" type="presParOf" srcId="{44192703-71A3-450E-A6B6-47B0FBA3CBBD}" destId="{07300715-D0A3-4EE1-92DF-61CF9ADD5208}" srcOrd="1" destOrd="0" presId="urn:microsoft.com/office/officeart/2005/8/layout/orgChart1"/>
    <dgm:cxn modelId="{39FF504A-9BAE-437A-9650-A85C6C57D5D8}" type="presParOf" srcId="{B774472D-5E3E-410A-9418-95627534DA7A}" destId="{16CE2A22-D8BC-43E2-8BEF-DB286178249F}" srcOrd="1" destOrd="0" presId="urn:microsoft.com/office/officeart/2005/8/layout/orgChart1"/>
    <dgm:cxn modelId="{A33B6D40-5EE8-4A8C-946D-BFEA257C1EF0}" type="presParOf" srcId="{B774472D-5E3E-410A-9418-95627534DA7A}" destId="{C05521FB-E6B0-4B72-8226-AB1A1129465D}" srcOrd="2" destOrd="0" presId="urn:microsoft.com/office/officeart/2005/8/layout/orgChart1"/>
    <dgm:cxn modelId="{1C513AC9-230F-4ECB-9E82-850ED5D46C40}" type="presParOf" srcId="{10FDA31E-3DDA-44C5-A1D2-AA76EC7D51AE}" destId="{EAF7A6CA-4D2E-432F-A0E5-D6C97FD46AB5}" srcOrd="14" destOrd="0" presId="urn:microsoft.com/office/officeart/2005/8/layout/orgChart1"/>
    <dgm:cxn modelId="{C46FE588-040C-46D9-88CC-CC227D4CD40F}" type="presParOf" srcId="{10FDA31E-3DDA-44C5-A1D2-AA76EC7D51AE}" destId="{68C20C0F-C6E3-4DEA-92DE-EE6A7E0647FB}" srcOrd="15" destOrd="0" presId="urn:microsoft.com/office/officeart/2005/8/layout/orgChart1"/>
    <dgm:cxn modelId="{3A22762C-5E29-411E-BF66-539FBA751472}" type="presParOf" srcId="{68C20C0F-C6E3-4DEA-92DE-EE6A7E0647FB}" destId="{0B1F1882-C3A8-4F07-AB45-5686E17581C4}" srcOrd="0" destOrd="0" presId="urn:microsoft.com/office/officeart/2005/8/layout/orgChart1"/>
    <dgm:cxn modelId="{12B94B34-C91C-47D1-8377-2F4DA5DA594E}" type="presParOf" srcId="{0B1F1882-C3A8-4F07-AB45-5686E17581C4}" destId="{71EB6095-A7DF-488C-AC96-CA968036D846}" srcOrd="0" destOrd="0" presId="urn:microsoft.com/office/officeart/2005/8/layout/orgChart1"/>
    <dgm:cxn modelId="{6D59576D-2CA7-4A1B-B246-773CC59E5650}" type="presParOf" srcId="{0B1F1882-C3A8-4F07-AB45-5686E17581C4}" destId="{78C0E697-6C66-4931-AE0C-434C6735A2A5}" srcOrd="1" destOrd="0" presId="urn:microsoft.com/office/officeart/2005/8/layout/orgChart1"/>
    <dgm:cxn modelId="{36F10064-C511-4A04-82A8-D651AEB17368}" type="presParOf" srcId="{68C20C0F-C6E3-4DEA-92DE-EE6A7E0647FB}" destId="{BB3E8AE1-6F65-4A21-9533-A53DB7CCF22D}" srcOrd="1" destOrd="0" presId="urn:microsoft.com/office/officeart/2005/8/layout/orgChart1"/>
    <dgm:cxn modelId="{F77DDEE4-5ED2-4680-9C04-88B18BE4274A}" type="presParOf" srcId="{68C20C0F-C6E3-4DEA-92DE-EE6A7E0647FB}" destId="{18BDBF88-361F-4470-B02C-220ABA1DD7EC}" srcOrd="2" destOrd="0" presId="urn:microsoft.com/office/officeart/2005/8/layout/orgChart1"/>
    <dgm:cxn modelId="{F28BC171-412D-437B-80C0-AD9949F95FC0}" type="presParOf" srcId="{10FDA31E-3DDA-44C5-A1D2-AA76EC7D51AE}" destId="{A979FECF-BC0B-47BE-B10B-19CA1C929FB1}" srcOrd="16" destOrd="0" presId="urn:microsoft.com/office/officeart/2005/8/layout/orgChart1"/>
    <dgm:cxn modelId="{4AC5D471-94F2-455B-9AC2-99FA47139DE2}" type="presParOf" srcId="{10FDA31E-3DDA-44C5-A1D2-AA76EC7D51AE}" destId="{F3321B84-D744-4E29-B4B5-7A42108EF3C1}" srcOrd="17" destOrd="0" presId="urn:microsoft.com/office/officeart/2005/8/layout/orgChart1"/>
    <dgm:cxn modelId="{18023E82-B82D-4551-85E6-D4638C54B86D}" type="presParOf" srcId="{F3321B84-D744-4E29-B4B5-7A42108EF3C1}" destId="{35154550-426D-4336-B177-526F8EF4E59F}" srcOrd="0" destOrd="0" presId="urn:microsoft.com/office/officeart/2005/8/layout/orgChart1"/>
    <dgm:cxn modelId="{0050C4E3-9A60-4BC6-B71F-177C4764CA47}" type="presParOf" srcId="{35154550-426D-4336-B177-526F8EF4E59F}" destId="{5D85EC3C-B95A-48C7-9772-747739BAD6D3}" srcOrd="0" destOrd="0" presId="urn:microsoft.com/office/officeart/2005/8/layout/orgChart1"/>
    <dgm:cxn modelId="{29C98693-A9EA-4200-8A63-5E35C93C84AA}" type="presParOf" srcId="{35154550-426D-4336-B177-526F8EF4E59F}" destId="{80D1AA17-2A19-42B0-95B9-B90CA6F35783}" srcOrd="1" destOrd="0" presId="urn:microsoft.com/office/officeart/2005/8/layout/orgChart1"/>
    <dgm:cxn modelId="{22522210-1B06-41AE-BBC2-BCBCCA16C2D6}" type="presParOf" srcId="{F3321B84-D744-4E29-B4B5-7A42108EF3C1}" destId="{DBDCFD18-1388-42EC-9BF1-D185BADAE2B4}" srcOrd="1" destOrd="0" presId="urn:microsoft.com/office/officeart/2005/8/layout/orgChart1"/>
    <dgm:cxn modelId="{E77F4D77-AC92-4DC8-BA8C-951FB5F1A0C4}" type="presParOf" srcId="{F3321B84-D744-4E29-B4B5-7A42108EF3C1}" destId="{29B6F273-F53E-4371-8A89-8C733AFEB9AA}" srcOrd="2" destOrd="0" presId="urn:microsoft.com/office/officeart/2005/8/layout/orgChart1"/>
    <dgm:cxn modelId="{446AF939-4B28-474A-99D5-4CF95E5B3619}" type="presParOf" srcId="{10FDA31E-3DDA-44C5-A1D2-AA76EC7D51AE}" destId="{D3A54005-80E0-42AC-B84C-E093D1E2D8E7}" srcOrd="18" destOrd="0" presId="urn:microsoft.com/office/officeart/2005/8/layout/orgChart1"/>
    <dgm:cxn modelId="{5C9E4BEF-9CA8-4887-AF65-F72AC5FAC9CF}" type="presParOf" srcId="{10FDA31E-3DDA-44C5-A1D2-AA76EC7D51AE}" destId="{B34EDA81-2439-4F7B-AB41-1CF765E4D0CA}" srcOrd="19" destOrd="0" presId="urn:microsoft.com/office/officeart/2005/8/layout/orgChart1"/>
    <dgm:cxn modelId="{8DB35CCF-5828-4AF1-8B92-35AABB1EB58B}" type="presParOf" srcId="{B34EDA81-2439-4F7B-AB41-1CF765E4D0CA}" destId="{04B55A0F-6010-4A43-ADEA-F7C9C13076E5}" srcOrd="0" destOrd="0" presId="urn:microsoft.com/office/officeart/2005/8/layout/orgChart1"/>
    <dgm:cxn modelId="{EE56C4F3-0BC5-44F9-BED3-A119AD0F92D2}" type="presParOf" srcId="{04B55A0F-6010-4A43-ADEA-F7C9C13076E5}" destId="{ACAC421F-3E64-408F-8B3A-21B2A52B6E47}" srcOrd="0" destOrd="0" presId="urn:microsoft.com/office/officeart/2005/8/layout/orgChart1"/>
    <dgm:cxn modelId="{1A571388-69C8-45B9-9B26-5B71628E8847}" type="presParOf" srcId="{04B55A0F-6010-4A43-ADEA-F7C9C13076E5}" destId="{ADA87D10-3703-4DB3-8459-85165E6DD4DE}" srcOrd="1" destOrd="0" presId="urn:microsoft.com/office/officeart/2005/8/layout/orgChart1"/>
    <dgm:cxn modelId="{6F683DC3-8A43-4AE0-A41A-4185734F8439}" type="presParOf" srcId="{B34EDA81-2439-4F7B-AB41-1CF765E4D0CA}" destId="{721CC090-EF43-4313-8F30-1584F68B5EE7}" srcOrd="1" destOrd="0" presId="urn:microsoft.com/office/officeart/2005/8/layout/orgChart1"/>
    <dgm:cxn modelId="{5F7BF7BA-F8B5-43CE-8104-A7042973C23D}" type="presParOf" srcId="{B34EDA81-2439-4F7B-AB41-1CF765E4D0CA}" destId="{5B0006E8-BBD0-48FC-9799-DD50D543D139}" srcOrd="2" destOrd="0" presId="urn:microsoft.com/office/officeart/2005/8/layout/orgChart1"/>
    <dgm:cxn modelId="{745044C7-6022-472E-8941-0D128E00F580}" type="presParOf" srcId="{02ACDDEF-D34B-4E80-9FF8-F94DBBA50745}" destId="{9C35750D-7AF5-4329-8F07-9920880B06D1}" srcOrd="2" destOrd="0" presId="urn:microsoft.com/office/officeart/2005/8/layout/orgChart1"/>
    <dgm:cxn modelId="{4F77FB35-AD01-48C0-83A8-6DD658C5F671}" type="presParOf" srcId="{3C704719-5F6E-4E28-887F-1B445C52BEAA}" destId="{4D282FB7-76E7-45FB-92B0-AA8DA0C96F1F}" srcOrd="2" destOrd="0" presId="urn:microsoft.com/office/officeart/2005/8/layout/orgChart1"/>
    <dgm:cxn modelId="{251E2A2F-8A40-4D91-9FE0-EF52D6960814}" type="presParOf" srcId="{FB2ED49D-8313-4371-B675-51680636DAAD}" destId="{D3B547CA-56D6-49B9-AF2D-7223406F76A1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F4175CC-94EA-47E7-98A0-62637CA5968A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5EA076C-D1A4-4CDA-A5B2-7108A3492C3C}">
      <dgm:prSet phldrT="[Text]" custT="1"/>
      <dgm:spPr/>
      <dgm:t>
        <a:bodyPr/>
        <a:lstStyle/>
        <a:p>
          <a:r>
            <a:rPr lang="en-GB" sz="900" dirty="0"/>
            <a:t>RAFT IT Workstream Lead</a:t>
          </a:r>
        </a:p>
        <a:p>
          <a:r>
            <a:rPr lang="en-GB" sz="900" dirty="0"/>
            <a:t>Sandie Lovie</a:t>
          </a:r>
        </a:p>
      </dgm:t>
    </dgm:pt>
    <dgm:pt modelId="{95F863D0-774C-4B53-85D1-961533EF4E92}" type="parTrans" cxnId="{9025C46E-1EB5-44EB-AFC3-E399A24609DE}">
      <dgm:prSet/>
      <dgm:spPr/>
      <dgm:t>
        <a:bodyPr/>
        <a:lstStyle/>
        <a:p>
          <a:endParaRPr lang="en-GB" sz="900"/>
        </a:p>
      </dgm:t>
    </dgm:pt>
    <dgm:pt modelId="{CA608C78-7626-4AA8-BFB2-543C3AF235A5}" type="sibTrans" cxnId="{9025C46E-1EB5-44EB-AFC3-E399A24609DE}">
      <dgm:prSet/>
      <dgm:spPr/>
      <dgm:t>
        <a:bodyPr/>
        <a:lstStyle/>
        <a:p>
          <a:endParaRPr lang="en-GB" sz="900"/>
        </a:p>
      </dgm:t>
    </dgm:pt>
    <dgm:pt modelId="{F1A01EE4-2499-4005-A091-C01F985C66B2}">
      <dgm:prSet phldrT="[Text]" custT="1"/>
      <dgm:spPr/>
      <dgm:t>
        <a:bodyPr/>
        <a:lstStyle/>
        <a:p>
          <a:r>
            <a:rPr lang="en-GB" sz="900" dirty="0"/>
            <a:t>Product Owner (Data Extracts)</a:t>
          </a:r>
        </a:p>
        <a:p>
          <a:r>
            <a:rPr lang="en-GB" sz="900" dirty="0"/>
            <a:t>?</a:t>
          </a:r>
        </a:p>
      </dgm:t>
    </dgm:pt>
    <dgm:pt modelId="{65E09D22-2953-4BB3-8D23-C2976D46CEFF}" type="parTrans" cxnId="{3D7BCDAB-DC78-443E-80E1-8AB40A496858}">
      <dgm:prSet/>
      <dgm:spPr/>
      <dgm:t>
        <a:bodyPr/>
        <a:lstStyle/>
        <a:p>
          <a:endParaRPr lang="en-GB" sz="900"/>
        </a:p>
      </dgm:t>
    </dgm:pt>
    <dgm:pt modelId="{A954FF72-29E3-4A78-A329-2782BAC933B6}" type="sibTrans" cxnId="{3D7BCDAB-DC78-443E-80E1-8AB40A496858}">
      <dgm:prSet/>
      <dgm:spPr/>
      <dgm:t>
        <a:bodyPr/>
        <a:lstStyle/>
        <a:p>
          <a:endParaRPr lang="en-GB" sz="900"/>
        </a:p>
      </dgm:t>
    </dgm:pt>
    <dgm:pt modelId="{AC42C8F1-9A58-40DA-9AA2-568538F4CED7}">
      <dgm:prSet phldrT="[Text]" custT="1"/>
      <dgm:spPr/>
      <dgm:t>
        <a:bodyPr/>
        <a:lstStyle/>
        <a:p>
          <a:r>
            <a:rPr lang="en-GB" sz="900" dirty="0"/>
            <a:t>Product Owner (Interfaces)</a:t>
          </a:r>
          <a:br>
            <a:rPr lang="en-GB" sz="900" dirty="0"/>
          </a:br>
          <a:r>
            <a:rPr lang="en-GB" sz="900" dirty="0"/>
            <a:t>Maarten Winter</a:t>
          </a:r>
        </a:p>
      </dgm:t>
    </dgm:pt>
    <dgm:pt modelId="{13558185-295C-4364-B621-1189DCE8F93E}" type="parTrans" cxnId="{3B9DD202-6E90-4EF1-B4B3-753B874CACF3}">
      <dgm:prSet/>
      <dgm:spPr/>
      <dgm:t>
        <a:bodyPr/>
        <a:lstStyle/>
        <a:p>
          <a:endParaRPr lang="en-GB" sz="900"/>
        </a:p>
      </dgm:t>
    </dgm:pt>
    <dgm:pt modelId="{3D30834B-F0B9-4C95-872E-1708587EBAC6}" type="sibTrans" cxnId="{3B9DD202-6E90-4EF1-B4B3-753B874CACF3}">
      <dgm:prSet/>
      <dgm:spPr/>
      <dgm:t>
        <a:bodyPr/>
        <a:lstStyle/>
        <a:p>
          <a:endParaRPr lang="en-GB" sz="900"/>
        </a:p>
      </dgm:t>
    </dgm:pt>
    <dgm:pt modelId="{CD73709F-B5FA-4395-8EBC-60DD33A7E58A}">
      <dgm:prSet phldrT="[Text]" custT="1"/>
      <dgm:spPr/>
      <dgm:t>
        <a:bodyPr/>
        <a:lstStyle/>
        <a:p>
          <a:r>
            <a:rPr lang="en-GB" sz="900" dirty="0"/>
            <a:t>Team Members</a:t>
          </a:r>
        </a:p>
      </dgm:t>
    </dgm:pt>
    <dgm:pt modelId="{428E1C67-8080-4238-B2B5-E01A9C2E807D}" type="parTrans" cxnId="{B0E6E96E-33BD-49C8-AB9C-9CEC089F6946}">
      <dgm:prSet/>
      <dgm:spPr/>
      <dgm:t>
        <a:bodyPr/>
        <a:lstStyle/>
        <a:p>
          <a:endParaRPr lang="en-GB" sz="900"/>
        </a:p>
      </dgm:t>
    </dgm:pt>
    <dgm:pt modelId="{31F9D7B9-D146-428B-A03A-E6FB4B2783A8}" type="sibTrans" cxnId="{B0E6E96E-33BD-49C8-AB9C-9CEC089F6946}">
      <dgm:prSet/>
      <dgm:spPr/>
      <dgm:t>
        <a:bodyPr/>
        <a:lstStyle/>
        <a:p>
          <a:endParaRPr lang="en-GB" sz="900"/>
        </a:p>
      </dgm:t>
    </dgm:pt>
    <dgm:pt modelId="{2ECC8247-7C48-40F1-B20B-35E073805818}">
      <dgm:prSet phldrT="[Text]" custT="1"/>
      <dgm:spPr/>
      <dgm:t>
        <a:bodyPr/>
        <a:lstStyle/>
        <a:p>
          <a:r>
            <a:rPr lang="en-GB" sz="900" dirty="0"/>
            <a:t>Team Members</a:t>
          </a:r>
        </a:p>
      </dgm:t>
    </dgm:pt>
    <dgm:pt modelId="{C737F75B-11F7-4373-9BAB-EE8EC11E4F3B}" type="parTrans" cxnId="{E9488D39-A1C0-4010-A7C2-41266A26DAC5}">
      <dgm:prSet/>
      <dgm:spPr/>
      <dgm:t>
        <a:bodyPr/>
        <a:lstStyle/>
        <a:p>
          <a:endParaRPr lang="en-GB" sz="900"/>
        </a:p>
      </dgm:t>
    </dgm:pt>
    <dgm:pt modelId="{13946D10-A08A-490A-9EE9-2C0E840F8AE0}" type="sibTrans" cxnId="{E9488D39-A1C0-4010-A7C2-41266A26DAC5}">
      <dgm:prSet/>
      <dgm:spPr/>
      <dgm:t>
        <a:bodyPr/>
        <a:lstStyle/>
        <a:p>
          <a:endParaRPr lang="en-GB" sz="900"/>
        </a:p>
      </dgm:t>
    </dgm:pt>
    <dgm:pt modelId="{4EAFD249-A5FE-4114-B9A7-1761CBB14632}" type="pres">
      <dgm:prSet presAssocID="{4F4175CC-94EA-47E7-98A0-62637CA5968A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B2ED49D-8313-4371-B675-51680636DAAD}" type="pres">
      <dgm:prSet presAssocID="{45EA076C-D1A4-4CDA-A5B2-7108A3492C3C}" presName="hierRoot1" presStyleCnt="0">
        <dgm:presLayoutVars>
          <dgm:hierBranch val="init"/>
        </dgm:presLayoutVars>
      </dgm:prSet>
      <dgm:spPr/>
    </dgm:pt>
    <dgm:pt modelId="{5FB82650-D47A-480F-A2B5-8816B3AD45C6}" type="pres">
      <dgm:prSet presAssocID="{45EA076C-D1A4-4CDA-A5B2-7108A3492C3C}" presName="rootComposite1" presStyleCnt="0"/>
      <dgm:spPr/>
    </dgm:pt>
    <dgm:pt modelId="{BADD7501-52DC-4DB3-8AA8-B56DE46658CD}" type="pres">
      <dgm:prSet presAssocID="{45EA076C-D1A4-4CDA-A5B2-7108A3492C3C}" presName="rootText1" presStyleLbl="node0" presStyleIdx="0" presStyleCnt="1">
        <dgm:presLayoutVars>
          <dgm:chPref val="3"/>
        </dgm:presLayoutVars>
      </dgm:prSet>
      <dgm:spPr/>
    </dgm:pt>
    <dgm:pt modelId="{C3478F76-C0B5-4A84-8AFD-EFAFC6D52FA5}" type="pres">
      <dgm:prSet presAssocID="{45EA076C-D1A4-4CDA-A5B2-7108A3492C3C}" presName="rootConnector1" presStyleLbl="node1" presStyleIdx="0" presStyleCnt="0"/>
      <dgm:spPr/>
    </dgm:pt>
    <dgm:pt modelId="{464DA5D8-D85D-41D1-9DF6-25E17E65329B}" type="pres">
      <dgm:prSet presAssocID="{45EA076C-D1A4-4CDA-A5B2-7108A3492C3C}" presName="hierChild2" presStyleCnt="0"/>
      <dgm:spPr/>
    </dgm:pt>
    <dgm:pt modelId="{CE915928-9920-42A7-B5FB-4CF93145B426}" type="pres">
      <dgm:prSet presAssocID="{65E09D22-2953-4BB3-8D23-C2976D46CEFF}" presName="Name37" presStyleLbl="parChTrans1D2" presStyleIdx="0" presStyleCnt="2"/>
      <dgm:spPr/>
    </dgm:pt>
    <dgm:pt modelId="{3C704719-5F6E-4E28-887F-1B445C52BEAA}" type="pres">
      <dgm:prSet presAssocID="{F1A01EE4-2499-4005-A091-C01F985C66B2}" presName="hierRoot2" presStyleCnt="0">
        <dgm:presLayoutVars>
          <dgm:hierBranch/>
        </dgm:presLayoutVars>
      </dgm:prSet>
      <dgm:spPr/>
    </dgm:pt>
    <dgm:pt modelId="{6611DFD4-6DEB-4F04-BFC8-F123E31A161B}" type="pres">
      <dgm:prSet presAssocID="{F1A01EE4-2499-4005-A091-C01F985C66B2}" presName="rootComposite" presStyleCnt="0"/>
      <dgm:spPr/>
    </dgm:pt>
    <dgm:pt modelId="{A9257F9A-1AA0-4331-8581-E03BE91AB593}" type="pres">
      <dgm:prSet presAssocID="{F1A01EE4-2499-4005-A091-C01F985C66B2}" presName="rootText" presStyleLbl="node2" presStyleIdx="0" presStyleCnt="2">
        <dgm:presLayoutVars>
          <dgm:chPref val="3"/>
        </dgm:presLayoutVars>
      </dgm:prSet>
      <dgm:spPr/>
    </dgm:pt>
    <dgm:pt modelId="{0FF27ED0-5A3F-4147-B9B5-7239448D218A}" type="pres">
      <dgm:prSet presAssocID="{F1A01EE4-2499-4005-A091-C01F985C66B2}" presName="rootConnector" presStyleLbl="node2" presStyleIdx="0" presStyleCnt="2"/>
      <dgm:spPr/>
    </dgm:pt>
    <dgm:pt modelId="{B6F80BD1-3742-418C-904A-4BA5671640BA}" type="pres">
      <dgm:prSet presAssocID="{F1A01EE4-2499-4005-A091-C01F985C66B2}" presName="hierChild4" presStyleCnt="0"/>
      <dgm:spPr/>
    </dgm:pt>
    <dgm:pt modelId="{E96FF293-80F8-4BED-89C1-5338489BCAEB}" type="pres">
      <dgm:prSet presAssocID="{C737F75B-11F7-4373-9BAB-EE8EC11E4F3B}" presName="Name35" presStyleLbl="parChTrans1D3" presStyleIdx="0" presStyleCnt="2"/>
      <dgm:spPr/>
    </dgm:pt>
    <dgm:pt modelId="{EF520539-F02E-4E1F-A494-282A5F2CE55E}" type="pres">
      <dgm:prSet presAssocID="{2ECC8247-7C48-40F1-B20B-35E073805818}" presName="hierRoot2" presStyleCnt="0">
        <dgm:presLayoutVars>
          <dgm:hierBranch/>
        </dgm:presLayoutVars>
      </dgm:prSet>
      <dgm:spPr/>
    </dgm:pt>
    <dgm:pt modelId="{A826E0C4-3392-4D1C-AFF1-DE5A6CE58826}" type="pres">
      <dgm:prSet presAssocID="{2ECC8247-7C48-40F1-B20B-35E073805818}" presName="rootComposite" presStyleCnt="0"/>
      <dgm:spPr/>
    </dgm:pt>
    <dgm:pt modelId="{448AE328-7CB2-4AA4-83BB-EA4AFE3CFE4D}" type="pres">
      <dgm:prSet presAssocID="{2ECC8247-7C48-40F1-B20B-35E073805818}" presName="rootText" presStyleLbl="node3" presStyleIdx="0" presStyleCnt="2">
        <dgm:presLayoutVars>
          <dgm:chPref val="3"/>
        </dgm:presLayoutVars>
      </dgm:prSet>
      <dgm:spPr/>
    </dgm:pt>
    <dgm:pt modelId="{70BD2348-20D3-4CFC-87A7-8077A06D4D2E}" type="pres">
      <dgm:prSet presAssocID="{2ECC8247-7C48-40F1-B20B-35E073805818}" presName="rootConnector" presStyleLbl="node3" presStyleIdx="0" presStyleCnt="2"/>
      <dgm:spPr/>
    </dgm:pt>
    <dgm:pt modelId="{23A4073E-6FC7-4816-96D8-7C03099311B2}" type="pres">
      <dgm:prSet presAssocID="{2ECC8247-7C48-40F1-B20B-35E073805818}" presName="hierChild4" presStyleCnt="0"/>
      <dgm:spPr/>
    </dgm:pt>
    <dgm:pt modelId="{EDBE7A87-5DBD-40E7-A1C6-541934A318A6}" type="pres">
      <dgm:prSet presAssocID="{2ECC8247-7C48-40F1-B20B-35E073805818}" presName="hierChild5" presStyleCnt="0"/>
      <dgm:spPr/>
    </dgm:pt>
    <dgm:pt modelId="{4D282FB7-76E7-45FB-92B0-AA8DA0C96F1F}" type="pres">
      <dgm:prSet presAssocID="{F1A01EE4-2499-4005-A091-C01F985C66B2}" presName="hierChild5" presStyleCnt="0"/>
      <dgm:spPr/>
    </dgm:pt>
    <dgm:pt modelId="{B6D87D60-8CF8-460F-B992-3A64FD60D012}" type="pres">
      <dgm:prSet presAssocID="{13558185-295C-4364-B621-1189DCE8F93E}" presName="Name37" presStyleLbl="parChTrans1D2" presStyleIdx="1" presStyleCnt="2"/>
      <dgm:spPr/>
    </dgm:pt>
    <dgm:pt modelId="{02ACDDEF-D34B-4E80-9FF8-F94DBBA50745}" type="pres">
      <dgm:prSet presAssocID="{AC42C8F1-9A58-40DA-9AA2-568538F4CED7}" presName="hierRoot2" presStyleCnt="0">
        <dgm:presLayoutVars>
          <dgm:hierBranch/>
        </dgm:presLayoutVars>
      </dgm:prSet>
      <dgm:spPr/>
    </dgm:pt>
    <dgm:pt modelId="{3C296B11-9518-4FF8-A7B7-C4F3C4E11748}" type="pres">
      <dgm:prSet presAssocID="{AC42C8F1-9A58-40DA-9AA2-568538F4CED7}" presName="rootComposite" presStyleCnt="0"/>
      <dgm:spPr/>
    </dgm:pt>
    <dgm:pt modelId="{C8F6DFC8-34D8-4298-8906-719E5AC27D9C}" type="pres">
      <dgm:prSet presAssocID="{AC42C8F1-9A58-40DA-9AA2-568538F4CED7}" presName="rootText" presStyleLbl="node2" presStyleIdx="1" presStyleCnt="2">
        <dgm:presLayoutVars>
          <dgm:chPref val="3"/>
        </dgm:presLayoutVars>
      </dgm:prSet>
      <dgm:spPr/>
    </dgm:pt>
    <dgm:pt modelId="{A890048C-9C3C-4871-BA65-8A14C725F520}" type="pres">
      <dgm:prSet presAssocID="{AC42C8F1-9A58-40DA-9AA2-568538F4CED7}" presName="rootConnector" presStyleLbl="node2" presStyleIdx="1" presStyleCnt="2"/>
      <dgm:spPr/>
    </dgm:pt>
    <dgm:pt modelId="{10FDA31E-3DDA-44C5-A1D2-AA76EC7D51AE}" type="pres">
      <dgm:prSet presAssocID="{AC42C8F1-9A58-40DA-9AA2-568538F4CED7}" presName="hierChild4" presStyleCnt="0"/>
      <dgm:spPr/>
    </dgm:pt>
    <dgm:pt modelId="{649713DF-2407-4055-8568-43F271C48503}" type="pres">
      <dgm:prSet presAssocID="{428E1C67-8080-4238-B2B5-E01A9C2E807D}" presName="Name35" presStyleLbl="parChTrans1D3" presStyleIdx="1" presStyleCnt="2"/>
      <dgm:spPr/>
    </dgm:pt>
    <dgm:pt modelId="{B34EDA81-2439-4F7B-AB41-1CF765E4D0CA}" type="pres">
      <dgm:prSet presAssocID="{CD73709F-B5FA-4395-8EBC-60DD33A7E58A}" presName="hierRoot2" presStyleCnt="0">
        <dgm:presLayoutVars>
          <dgm:hierBranch/>
        </dgm:presLayoutVars>
      </dgm:prSet>
      <dgm:spPr/>
    </dgm:pt>
    <dgm:pt modelId="{04B55A0F-6010-4A43-ADEA-F7C9C13076E5}" type="pres">
      <dgm:prSet presAssocID="{CD73709F-B5FA-4395-8EBC-60DD33A7E58A}" presName="rootComposite" presStyleCnt="0"/>
      <dgm:spPr/>
    </dgm:pt>
    <dgm:pt modelId="{ACAC421F-3E64-408F-8B3A-21B2A52B6E47}" type="pres">
      <dgm:prSet presAssocID="{CD73709F-B5FA-4395-8EBC-60DD33A7E58A}" presName="rootText" presStyleLbl="node3" presStyleIdx="1" presStyleCnt="2">
        <dgm:presLayoutVars>
          <dgm:chPref val="3"/>
        </dgm:presLayoutVars>
      </dgm:prSet>
      <dgm:spPr/>
    </dgm:pt>
    <dgm:pt modelId="{ADA87D10-3703-4DB3-8459-85165E6DD4DE}" type="pres">
      <dgm:prSet presAssocID="{CD73709F-B5FA-4395-8EBC-60DD33A7E58A}" presName="rootConnector" presStyleLbl="node3" presStyleIdx="1" presStyleCnt="2"/>
      <dgm:spPr/>
    </dgm:pt>
    <dgm:pt modelId="{721CC090-EF43-4313-8F30-1584F68B5EE7}" type="pres">
      <dgm:prSet presAssocID="{CD73709F-B5FA-4395-8EBC-60DD33A7E58A}" presName="hierChild4" presStyleCnt="0"/>
      <dgm:spPr/>
    </dgm:pt>
    <dgm:pt modelId="{5B0006E8-BBD0-48FC-9799-DD50D543D139}" type="pres">
      <dgm:prSet presAssocID="{CD73709F-B5FA-4395-8EBC-60DD33A7E58A}" presName="hierChild5" presStyleCnt="0"/>
      <dgm:spPr/>
    </dgm:pt>
    <dgm:pt modelId="{9C35750D-7AF5-4329-8F07-9920880B06D1}" type="pres">
      <dgm:prSet presAssocID="{AC42C8F1-9A58-40DA-9AA2-568538F4CED7}" presName="hierChild5" presStyleCnt="0"/>
      <dgm:spPr/>
    </dgm:pt>
    <dgm:pt modelId="{D3B547CA-56D6-49B9-AF2D-7223406F76A1}" type="pres">
      <dgm:prSet presAssocID="{45EA076C-D1A4-4CDA-A5B2-7108A3492C3C}" presName="hierChild3" presStyleCnt="0"/>
      <dgm:spPr/>
    </dgm:pt>
  </dgm:ptLst>
  <dgm:cxnLst>
    <dgm:cxn modelId="{3B9DD202-6E90-4EF1-B4B3-753B874CACF3}" srcId="{45EA076C-D1A4-4CDA-A5B2-7108A3492C3C}" destId="{AC42C8F1-9A58-40DA-9AA2-568538F4CED7}" srcOrd="1" destOrd="0" parTransId="{13558185-295C-4364-B621-1189DCE8F93E}" sibTransId="{3D30834B-F0B9-4C95-872E-1708587EBAC6}"/>
    <dgm:cxn modelId="{BA459209-45FE-4375-BDCB-8B36710724D2}" type="presOf" srcId="{F1A01EE4-2499-4005-A091-C01F985C66B2}" destId="{0FF27ED0-5A3F-4147-B9B5-7239448D218A}" srcOrd="1" destOrd="0" presId="urn:microsoft.com/office/officeart/2005/8/layout/orgChart1"/>
    <dgm:cxn modelId="{6DC9030C-E52F-41ED-8B93-8C7C6EE7A32F}" type="presOf" srcId="{2ECC8247-7C48-40F1-B20B-35E073805818}" destId="{448AE328-7CB2-4AA4-83BB-EA4AFE3CFE4D}" srcOrd="0" destOrd="0" presId="urn:microsoft.com/office/officeart/2005/8/layout/orgChart1"/>
    <dgm:cxn modelId="{66BCD314-14B4-435B-847E-0096B4CA46FD}" type="presOf" srcId="{13558185-295C-4364-B621-1189DCE8F93E}" destId="{B6D87D60-8CF8-460F-B992-3A64FD60D012}" srcOrd="0" destOrd="0" presId="urn:microsoft.com/office/officeart/2005/8/layout/orgChart1"/>
    <dgm:cxn modelId="{FF573A1A-6C66-4774-993A-2D936EAF7036}" type="presOf" srcId="{CD73709F-B5FA-4395-8EBC-60DD33A7E58A}" destId="{ACAC421F-3E64-408F-8B3A-21B2A52B6E47}" srcOrd="0" destOrd="0" presId="urn:microsoft.com/office/officeart/2005/8/layout/orgChart1"/>
    <dgm:cxn modelId="{83F3981C-4DFA-4D9A-BFA7-01983EA67CF2}" type="presOf" srcId="{AC42C8F1-9A58-40DA-9AA2-568538F4CED7}" destId="{A890048C-9C3C-4871-BA65-8A14C725F520}" srcOrd="1" destOrd="0" presId="urn:microsoft.com/office/officeart/2005/8/layout/orgChart1"/>
    <dgm:cxn modelId="{A665F435-8A8D-46C9-AA01-EFC721AA232E}" type="presOf" srcId="{AC42C8F1-9A58-40DA-9AA2-568538F4CED7}" destId="{C8F6DFC8-34D8-4298-8906-719E5AC27D9C}" srcOrd="0" destOrd="0" presId="urn:microsoft.com/office/officeart/2005/8/layout/orgChart1"/>
    <dgm:cxn modelId="{E9488D39-A1C0-4010-A7C2-41266A26DAC5}" srcId="{F1A01EE4-2499-4005-A091-C01F985C66B2}" destId="{2ECC8247-7C48-40F1-B20B-35E073805818}" srcOrd="0" destOrd="0" parTransId="{C737F75B-11F7-4373-9BAB-EE8EC11E4F3B}" sibTransId="{13946D10-A08A-490A-9EE9-2C0E840F8AE0}"/>
    <dgm:cxn modelId="{84786741-7AEF-43C9-B70D-E316B47BFD43}" type="presOf" srcId="{65E09D22-2953-4BB3-8D23-C2976D46CEFF}" destId="{CE915928-9920-42A7-B5FB-4CF93145B426}" srcOrd="0" destOrd="0" presId="urn:microsoft.com/office/officeart/2005/8/layout/orgChart1"/>
    <dgm:cxn modelId="{4A821548-E799-4F89-8966-6B6708C3E8C8}" type="presOf" srcId="{428E1C67-8080-4238-B2B5-E01A9C2E807D}" destId="{649713DF-2407-4055-8568-43F271C48503}" srcOrd="0" destOrd="0" presId="urn:microsoft.com/office/officeart/2005/8/layout/orgChart1"/>
    <dgm:cxn modelId="{C880914A-5EDC-4BF1-AC1A-BAE35EBDC52F}" type="presOf" srcId="{C737F75B-11F7-4373-9BAB-EE8EC11E4F3B}" destId="{E96FF293-80F8-4BED-89C1-5338489BCAEB}" srcOrd="0" destOrd="0" presId="urn:microsoft.com/office/officeart/2005/8/layout/orgChart1"/>
    <dgm:cxn modelId="{9025C46E-1EB5-44EB-AFC3-E399A24609DE}" srcId="{4F4175CC-94EA-47E7-98A0-62637CA5968A}" destId="{45EA076C-D1A4-4CDA-A5B2-7108A3492C3C}" srcOrd="0" destOrd="0" parTransId="{95F863D0-774C-4B53-85D1-961533EF4E92}" sibTransId="{CA608C78-7626-4AA8-BFB2-543C3AF235A5}"/>
    <dgm:cxn modelId="{B0E6E96E-33BD-49C8-AB9C-9CEC089F6946}" srcId="{AC42C8F1-9A58-40DA-9AA2-568538F4CED7}" destId="{CD73709F-B5FA-4395-8EBC-60DD33A7E58A}" srcOrd="0" destOrd="0" parTransId="{428E1C67-8080-4238-B2B5-E01A9C2E807D}" sibTransId="{31F9D7B9-D146-428B-A03A-E6FB4B2783A8}"/>
    <dgm:cxn modelId="{9BCA5170-D0BD-4282-B0A1-8CA9E8A58B5E}" type="presOf" srcId="{4F4175CC-94EA-47E7-98A0-62637CA5968A}" destId="{4EAFD249-A5FE-4114-B9A7-1761CBB14632}" srcOrd="0" destOrd="0" presId="urn:microsoft.com/office/officeart/2005/8/layout/orgChart1"/>
    <dgm:cxn modelId="{1B62CC76-85ED-4FCE-9B89-E613E1225386}" type="presOf" srcId="{45EA076C-D1A4-4CDA-A5B2-7108A3492C3C}" destId="{BADD7501-52DC-4DB3-8AA8-B56DE46658CD}" srcOrd="0" destOrd="0" presId="urn:microsoft.com/office/officeart/2005/8/layout/orgChart1"/>
    <dgm:cxn modelId="{B630D87B-719E-4588-94EE-524F7D6227BD}" type="presOf" srcId="{F1A01EE4-2499-4005-A091-C01F985C66B2}" destId="{A9257F9A-1AA0-4331-8581-E03BE91AB593}" srcOrd="0" destOrd="0" presId="urn:microsoft.com/office/officeart/2005/8/layout/orgChart1"/>
    <dgm:cxn modelId="{3D7BCDAB-DC78-443E-80E1-8AB40A496858}" srcId="{45EA076C-D1A4-4CDA-A5B2-7108A3492C3C}" destId="{F1A01EE4-2499-4005-A091-C01F985C66B2}" srcOrd="0" destOrd="0" parTransId="{65E09D22-2953-4BB3-8D23-C2976D46CEFF}" sibTransId="{A954FF72-29E3-4A78-A329-2782BAC933B6}"/>
    <dgm:cxn modelId="{792D9ACD-B04A-49A2-86E1-069B66506F54}" type="presOf" srcId="{2ECC8247-7C48-40F1-B20B-35E073805818}" destId="{70BD2348-20D3-4CFC-87A7-8077A06D4D2E}" srcOrd="1" destOrd="0" presId="urn:microsoft.com/office/officeart/2005/8/layout/orgChart1"/>
    <dgm:cxn modelId="{5A1EC1DC-CCDE-4107-B872-57C4836045A4}" type="presOf" srcId="{45EA076C-D1A4-4CDA-A5B2-7108A3492C3C}" destId="{C3478F76-C0B5-4A84-8AFD-EFAFC6D52FA5}" srcOrd="1" destOrd="0" presId="urn:microsoft.com/office/officeart/2005/8/layout/orgChart1"/>
    <dgm:cxn modelId="{1FC533EF-3918-4BD2-9310-5588CD042056}" type="presOf" srcId="{CD73709F-B5FA-4395-8EBC-60DD33A7E58A}" destId="{ADA87D10-3703-4DB3-8459-85165E6DD4DE}" srcOrd="1" destOrd="0" presId="urn:microsoft.com/office/officeart/2005/8/layout/orgChart1"/>
    <dgm:cxn modelId="{C992FADE-C419-42CD-96AF-7878154960DA}" type="presParOf" srcId="{4EAFD249-A5FE-4114-B9A7-1761CBB14632}" destId="{FB2ED49D-8313-4371-B675-51680636DAAD}" srcOrd="0" destOrd="0" presId="urn:microsoft.com/office/officeart/2005/8/layout/orgChart1"/>
    <dgm:cxn modelId="{C20B9A90-D9E4-46F6-A5CF-81AC6E0478D5}" type="presParOf" srcId="{FB2ED49D-8313-4371-B675-51680636DAAD}" destId="{5FB82650-D47A-480F-A2B5-8816B3AD45C6}" srcOrd="0" destOrd="0" presId="urn:microsoft.com/office/officeart/2005/8/layout/orgChart1"/>
    <dgm:cxn modelId="{841235FC-A575-42D6-8F71-E4D1FF835B3C}" type="presParOf" srcId="{5FB82650-D47A-480F-A2B5-8816B3AD45C6}" destId="{BADD7501-52DC-4DB3-8AA8-B56DE46658CD}" srcOrd="0" destOrd="0" presId="urn:microsoft.com/office/officeart/2005/8/layout/orgChart1"/>
    <dgm:cxn modelId="{2FC08156-8D7C-4D24-B275-5AA716B91EE9}" type="presParOf" srcId="{5FB82650-D47A-480F-A2B5-8816B3AD45C6}" destId="{C3478F76-C0B5-4A84-8AFD-EFAFC6D52FA5}" srcOrd="1" destOrd="0" presId="urn:microsoft.com/office/officeart/2005/8/layout/orgChart1"/>
    <dgm:cxn modelId="{E7636622-9BC9-481B-8BF0-AA3FF5F5FEB1}" type="presParOf" srcId="{FB2ED49D-8313-4371-B675-51680636DAAD}" destId="{464DA5D8-D85D-41D1-9DF6-25E17E65329B}" srcOrd="1" destOrd="0" presId="urn:microsoft.com/office/officeart/2005/8/layout/orgChart1"/>
    <dgm:cxn modelId="{E885E5DA-0305-4A3A-B83E-2CD17ABFA63B}" type="presParOf" srcId="{464DA5D8-D85D-41D1-9DF6-25E17E65329B}" destId="{CE915928-9920-42A7-B5FB-4CF93145B426}" srcOrd="0" destOrd="0" presId="urn:microsoft.com/office/officeart/2005/8/layout/orgChart1"/>
    <dgm:cxn modelId="{C0ECBCF8-59D9-443F-BDE8-78402F290AA7}" type="presParOf" srcId="{464DA5D8-D85D-41D1-9DF6-25E17E65329B}" destId="{3C704719-5F6E-4E28-887F-1B445C52BEAA}" srcOrd="1" destOrd="0" presId="urn:microsoft.com/office/officeart/2005/8/layout/orgChart1"/>
    <dgm:cxn modelId="{AB376A39-3EAE-46A4-A0D4-27E9A16C0397}" type="presParOf" srcId="{3C704719-5F6E-4E28-887F-1B445C52BEAA}" destId="{6611DFD4-6DEB-4F04-BFC8-F123E31A161B}" srcOrd="0" destOrd="0" presId="urn:microsoft.com/office/officeart/2005/8/layout/orgChart1"/>
    <dgm:cxn modelId="{94154031-F021-4A58-926B-9EAB8CA48D92}" type="presParOf" srcId="{6611DFD4-6DEB-4F04-BFC8-F123E31A161B}" destId="{A9257F9A-1AA0-4331-8581-E03BE91AB593}" srcOrd="0" destOrd="0" presId="urn:microsoft.com/office/officeart/2005/8/layout/orgChart1"/>
    <dgm:cxn modelId="{3D21CDAF-8789-4E1D-986C-07FE6B900EA0}" type="presParOf" srcId="{6611DFD4-6DEB-4F04-BFC8-F123E31A161B}" destId="{0FF27ED0-5A3F-4147-B9B5-7239448D218A}" srcOrd="1" destOrd="0" presId="urn:microsoft.com/office/officeart/2005/8/layout/orgChart1"/>
    <dgm:cxn modelId="{57B9FF83-51DD-41A8-A2B9-1E9108257526}" type="presParOf" srcId="{3C704719-5F6E-4E28-887F-1B445C52BEAA}" destId="{B6F80BD1-3742-418C-904A-4BA5671640BA}" srcOrd="1" destOrd="0" presId="urn:microsoft.com/office/officeart/2005/8/layout/orgChart1"/>
    <dgm:cxn modelId="{EA2C3CB3-BE05-47B8-8F13-E6A90307C4AE}" type="presParOf" srcId="{B6F80BD1-3742-418C-904A-4BA5671640BA}" destId="{E96FF293-80F8-4BED-89C1-5338489BCAEB}" srcOrd="0" destOrd="0" presId="urn:microsoft.com/office/officeart/2005/8/layout/orgChart1"/>
    <dgm:cxn modelId="{EDF83CD6-4061-4B50-AC36-91428073179C}" type="presParOf" srcId="{B6F80BD1-3742-418C-904A-4BA5671640BA}" destId="{EF520539-F02E-4E1F-A494-282A5F2CE55E}" srcOrd="1" destOrd="0" presId="urn:microsoft.com/office/officeart/2005/8/layout/orgChart1"/>
    <dgm:cxn modelId="{BF8888A9-57C6-4022-AE95-3FE64F393232}" type="presParOf" srcId="{EF520539-F02E-4E1F-A494-282A5F2CE55E}" destId="{A826E0C4-3392-4D1C-AFF1-DE5A6CE58826}" srcOrd="0" destOrd="0" presId="urn:microsoft.com/office/officeart/2005/8/layout/orgChart1"/>
    <dgm:cxn modelId="{DCA7E857-F578-4507-84D6-E92067907781}" type="presParOf" srcId="{A826E0C4-3392-4D1C-AFF1-DE5A6CE58826}" destId="{448AE328-7CB2-4AA4-83BB-EA4AFE3CFE4D}" srcOrd="0" destOrd="0" presId="urn:microsoft.com/office/officeart/2005/8/layout/orgChart1"/>
    <dgm:cxn modelId="{546B45C2-1BBD-4A46-A0F0-5B91A122D5A1}" type="presParOf" srcId="{A826E0C4-3392-4D1C-AFF1-DE5A6CE58826}" destId="{70BD2348-20D3-4CFC-87A7-8077A06D4D2E}" srcOrd="1" destOrd="0" presId="urn:microsoft.com/office/officeart/2005/8/layout/orgChart1"/>
    <dgm:cxn modelId="{0ADE5F90-4179-4B86-98BF-98561FEA3120}" type="presParOf" srcId="{EF520539-F02E-4E1F-A494-282A5F2CE55E}" destId="{23A4073E-6FC7-4816-96D8-7C03099311B2}" srcOrd="1" destOrd="0" presId="urn:microsoft.com/office/officeart/2005/8/layout/orgChart1"/>
    <dgm:cxn modelId="{2FEFD41E-D6FB-4302-BEF3-61E906BB129C}" type="presParOf" srcId="{EF520539-F02E-4E1F-A494-282A5F2CE55E}" destId="{EDBE7A87-5DBD-40E7-A1C6-541934A318A6}" srcOrd="2" destOrd="0" presId="urn:microsoft.com/office/officeart/2005/8/layout/orgChart1"/>
    <dgm:cxn modelId="{4F77FB35-AD01-48C0-83A8-6DD658C5F671}" type="presParOf" srcId="{3C704719-5F6E-4E28-887F-1B445C52BEAA}" destId="{4D282FB7-76E7-45FB-92B0-AA8DA0C96F1F}" srcOrd="2" destOrd="0" presId="urn:microsoft.com/office/officeart/2005/8/layout/orgChart1"/>
    <dgm:cxn modelId="{E6952638-DB65-4856-84FD-7844267A64AF}" type="presParOf" srcId="{464DA5D8-D85D-41D1-9DF6-25E17E65329B}" destId="{B6D87D60-8CF8-460F-B992-3A64FD60D012}" srcOrd="2" destOrd="0" presId="urn:microsoft.com/office/officeart/2005/8/layout/orgChart1"/>
    <dgm:cxn modelId="{AF4E48B5-CFBD-4949-A751-3E25799AE687}" type="presParOf" srcId="{464DA5D8-D85D-41D1-9DF6-25E17E65329B}" destId="{02ACDDEF-D34B-4E80-9FF8-F94DBBA50745}" srcOrd="3" destOrd="0" presId="urn:microsoft.com/office/officeart/2005/8/layout/orgChart1"/>
    <dgm:cxn modelId="{64975D60-FC03-4A93-AD59-80DD1CD0D0DC}" type="presParOf" srcId="{02ACDDEF-D34B-4E80-9FF8-F94DBBA50745}" destId="{3C296B11-9518-4FF8-A7B7-C4F3C4E11748}" srcOrd="0" destOrd="0" presId="urn:microsoft.com/office/officeart/2005/8/layout/orgChart1"/>
    <dgm:cxn modelId="{394A4BC8-242C-4DCE-9D75-DA75FF856B58}" type="presParOf" srcId="{3C296B11-9518-4FF8-A7B7-C4F3C4E11748}" destId="{C8F6DFC8-34D8-4298-8906-719E5AC27D9C}" srcOrd="0" destOrd="0" presId="urn:microsoft.com/office/officeart/2005/8/layout/orgChart1"/>
    <dgm:cxn modelId="{9AE95F0D-E3F0-4373-AE89-8B23AAF8D739}" type="presParOf" srcId="{3C296B11-9518-4FF8-A7B7-C4F3C4E11748}" destId="{A890048C-9C3C-4871-BA65-8A14C725F520}" srcOrd="1" destOrd="0" presId="urn:microsoft.com/office/officeart/2005/8/layout/orgChart1"/>
    <dgm:cxn modelId="{53C8BE2A-C2D4-489D-BF10-978E1E2B989C}" type="presParOf" srcId="{02ACDDEF-D34B-4E80-9FF8-F94DBBA50745}" destId="{10FDA31E-3DDA-44C5-A1D2-AA76EC7D51AE}" srcOrd="1" destOrd="0" presId="urn:microsoft.com/office/officeart/2005/8/layout/orgChart1"/>
    <dgm:cxn modelId="{61FD3A2C-DF54-4E68-9BA9-426378A1983D}" type="presParOf" srcId="{10FDA31E-3DDA-44C5-A1D2-AA76EC7D51AE}" destId="{649713DF-2407-4055-8568-43F271C48503}" srcOrd="0" destOrd="0" presId="urn:microsoft.com/office/officeart/2005/8/layout/orgChart1"/>
    <dgm:cxn modelId="{2768200B-03EE-42A6-826A-C2ABB2764D72}" type="presParOf" srcId="{10FDA31E-3DDA-44C5-A1D2-AA76EC7D51AE}" destId="{B34EDA81-2439-4F7B-AB41-1CF765E4D0CA}" srcOrd="1" destOrd="0" presId="urn:microsoft.com/office/officeart/2005/8/layout/orgChart1"/>
    <dgm:cxn modelId="{03BF8795-27FE-4C1F-B64A-6F3FCA7FAF2E}" type="presParOf" srcId="{B34EDA81-2439-4F7B-AB41-1CF765E4D0CA}" destId="{04B55A0F-6010-4A43-ADEA-F7C9C13076E5}" srcOrd="0" destOrd="0" presId="urn:microsoft.com/office/officeart/2005/8/layout/orgChart1"/>
    <dgm:cxn modelId="{BB00FCA0-5A9B-4686-B4D6-0A2AF1A377A1}" type="presParOf" srcId="{04B55A0F-6010-4A43-ADEA-F7C9C13076E5}" destId="{ACAC421F-3E64-408F-8B3A-21B2A52B6E47}" srcOrd="0" destOrd="0" presId="urn:microsoft.com/office/officeart/2005/8/layout/orgChart1"/>
    <dgm:cxn modelId="{9EDE393E-F0E5-4B5C-BD12-838637D6533C}" type="presParOf" srcId="{04B55A0F-6010-4A43-ADEA-F7C9C13076E5}" destId="{ADA87D10-3703-4DB3-8459-85165E6DD4DE}" srcOrd="1" destOrd="0" presId="urn:microsoft.com/office/officeart/2005/8/layout/orgChart1"/>
    <dgm:cxn modelId="{1208A9E7-21DC-49C8-A817-A9E86E1CDB74}" type="presParOf" srcId="{B34EDA81-2439-4F7B-AB41-1CF765E4D0CA}" destId="{721CC090-EF43-4313-8F30-1584F68B5EE7}" srcOrd="1" destOrd="0" presId="urn:microsoft.com/office/officeart/2005/8/layout/orgChart1"/>
    <dgm:cxn modelId="{1B29B0F7-EAC1-4D87-9460-BED9272C66CA}" type="presParOf" srcId="{B34EDA81-2439-4F7B-AB41-1CF765E4D0CA}" destId="{5B0006E8-BBD0-48FC-9799-DD50D543D139}" srcOrd="2" destOrd="0" presId="urn:microsoft.com/office/officeart/2005/8/layout/orgChart1"/>
    <dgm:cxn modelId="{3C5E64AD-724D-4017-A865-62AFBDBFA09E}" type="presParOf" srcId="{02ACDDEF-D34B-4E80-9FF8-F94DBBA50745}" destId="{9C35750D-7AF5-4329-8F07-9920880B06D1}" srcOrd="2" destOrd="0" presId="urn:microsoft.com/office/officeart/2005/8/layout/orgChart1"/>
    <dgm:cxn modelId="{251E2A2F-8A40-4D91-9FE0-EF52D6960814}" type="presParOf" srcId="{FB2ED49D-8313-4371-B675-51680636DAAD}" destId="{D3B547CA-56D6-49B9-AF2D-7223406F76A1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A54005-80E0-42AC-B84C-E093D1E2D8E7}">
      <dsp:nvSpPr>
        <dsp:cNvPr id="0" name=""/>
        <dsp:cNvSpPr/>
      </dsp:nvSpPr>
      <dsp:spPr>
        <a:xfrm>
          <a:off x="2260600" y="1596784"/>
          <a:ext cx="91440" cy="252381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3813"/>
              </a:lnTo>
              <a:lnTo>
                <a:pt x="132924" y="252381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79FECF-BC0B-47BE-B10B-19CA1C929FB1}">
      <dsp:nvSpPr>
        <dsp:cNvPr id="0" name=""/>
        <dsp:cNvSpPr/>
      </dsp:nvSpPr>
      <dsp:spPr>
        <a:xfrm>
          <a:off x="2173395" y="1596784"/>
          <a:ext cx="91440" cy="2523813"/>
        </a:xfrm>
        <a:custGeom>
          <a:avLst/>
          <a:gdLst/>
          <a:ahLst/>
          <a:cxnLst/>
          <a:rect l="0" t="0" r="0" b="0"/>
          <a:pathLst>
            <a:path>
              <a:moveTo>
                <a:pt x="132924" y="0"/>
              </a:moveTo>
              <a:lnTo>
                <a:pt x="132924" y="2523813"/>
              </a:lnTo>
              <a:lnTo>
                <a:pt x="45720" y="252381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F7A6CA-4D2E-432F-A0E5-D6C97FD46AB5}">
      <dsp:nvSpPr>
        <dsp:cNvPr id="0" name=""/>
        <dsp:cNvSpPr/>
      </dsp:nvSpPr>
      <dsp:spPr>
        <a:xfrm>
          <a:off x="2260600" y="1596784"/>
          <a:ext cx="91440" cy="204800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048003"/>
              </a:lnTo>
              <a:lnTo>
                <a:pt x="132924" y="204800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6893EC-6F6D-4125-9E8B-DD8EA949D08E}">
      <dsp:nvSpPr>
        <dsp:cNvPr id="0" name=""/>
        <dsp:cNvSpPr/>
      </dsp:nvSpPr>
      <dsp:spPr>
        <a:xfrm>
          <a:off x="2173395" y="1596784"/>
          <a:ext cx="91440" cy="2048003"/>
        </a:xfrm>
        <a:custGeom>
          <a:avLst/>
          <a:gdLst/>
          <a:ahLst/>
          <a:cxnLst/>
          <a:rect l="0" t="0" r="0" b="0"/>
          <a:pathLst>
            <a:path>
              <a:moveTo>
                <a:pt x="132924" y="0"/>
              </a:moveTo>
              <a:lnTo>
                <a:pt x="132924" y="2048003"/>
              </a:lnTo>
              <a:lnTo>
                <a:pt x="45720" y="204800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ED2495-69F0-493C-A0D9-C3034388E2B1}">
      <dsp:nvSpPr>
        <dsp:cNvPr id="0" name=""/>
        <dsp:cNvSpPr/>
      </dsp:nvSpPr>
      <dsp:spPr>
        <a:xfrm>
          <a:off x="2260600" y="1596784"/>
          <a:ext cx="91440" cy="159094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590949"/>
              </a:lnTo>
              <a:lnTo>
                <a:pt x="132924" y="159094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D09FE6D-8559-4112-B885-80DDC6F37DC0}">
      <dsp:nvSpPr>
        <dsp:cNvPr id="0" name=""/>
        <dsp:cNvSpPr/>
      </dsp:nvSpPr>
      <dsp:spPr>
        <a:xfrm>
          <a:off x="2173395" y="1596784"/>
          <a:ext cx="91440" cy="1590949"/>
        </a:xfrm>
        <a:custGeom>
          <a:avLst/>
          <a:gdLst/>
          <a:ahLst/>
          <a:cxnLst/>
          <a:rect l="0" t="0" r="0" b="0"/>
          <a:pathLst>
            <a:path>
              <a:moveTo>
                <a:pt x="132924" y="0"/>
              </a:moveTo>
              <a:lnTo>
                <a:pt x="132924" y="1590949"/>
              </a:lnTo>
              <a:lnTo>
                <a:pt x="45720" y="159094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5BBDE9-2F42-4A4B-ADE7-050D63DDF734}">
      <dsp:nvSpPr>
        <dsp:cNvPr id="0" name=""/>
        <dsp:cNvSpPr/>
      </dsp:nvSpPr>
      <dsp:spPr>
        <a:xfrm>
          <a:off x="2260600" y="1596784"/>
          <a:ext cx="91440" cy="97171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71711"/>
              </a:lnTo>
              <a:lnTo>
                <a:pt x="132924" y="97171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EC9A02-80CE-47CF-9A07-FEF4151BEE66}">
      <dsp:nvSpPr>
        <dsp:cNvPr id="0" name=""/>
        <dsp:cNvSpPr/>
      </dsp:nvSpPr>
      <dsp:spPr>
        <a:xfrm>
          <a:off x="2173395" y="1596784"/>
          <a:ext cx="91440" cy="880537"/>
        </a:xfrm>
        <a:custGeom>
          <a:avLst/>
          <a:gdLst/>
          <a:ahLst/>
          <a:cxnLst/>
          <a:rect l="0" t="0" r="0" b="0"/>
          <a:pathLst>
            <a:path>
              <a:moveTo>
                <a:pt x="132924" y="0"/>
              </a:moveTo>
              <a:lnTo>
                <a:pt x="132924" y="880537"/>
              </a:lnTo>
              <a:lnTo>
                <a:pt x="45720" y="8805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CEB584-A533-496E-AB22-D26DD4C6DAD7}">
      <dsp:nvSpPr>
        <dsp:cNvPr id="0" name=""/>
        <dsp:cNvSpPr/>
      </dsp:nvSpPr>
      <dsp:spPr>
        <a:xfrm>
          <a:off x="2260600" y="1596784"/>
          <a:ext cx="91440" cy="29086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90865"/>
              </a:lnTo>
              <a:lnTo>
                <a:pt x="132924" y="29086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D80480C-8681-4872-BFB5-D3B79BAE56B0}">
      <dsp:nvSpPr>
        <dsp:cNvPr id="0" name=""/>
        <dsp:cNvSpPr/>
      </dsp:nvSpPr>
      <dsp:spPr>
        <a:xfrm>
          <a:off x="2173395" y="1596784"/>
          <a:ext cx="91440" cy="290865"/>
        </a:xfrm>
        <a:custGeom>
          <a:avLst/>
          <a:gdLst/>
          <a:ahLst/>
          <a:cxnLst/>
          <a:rect l="0" t="0" r="0" b="0"/>
          <a:pathLst>
            <a:path>
              <a:moveTo>
                <a:pt x="132924" y="0"/>
              </a:moveTo>
              <a:lnTo>
                <a:pt x="132924" y="290865"/>
              </a:lnTo>
              <a:lnTo>
                <a:pt x="45720" y="29086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D87D60-8CF8-460F-B992-3A64FD60D012}">
      <dsp:nvSpPr>
        <dsp:cNvPr id="0" name=""/>
        <dsp:cNvSpPr/>
      </dsp:nvSpPr>
      <dsp:spPr>
        <a:xfrm>
          <a:off x="2260600" y="1007113"/>
          <a:ext cx="91440" cy="17440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7440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E915928-9920-42A7-B5FB-4CF93145B426}">
      <dsp:nvSpPr>
        <dsp:cNvPr id="0" name=""/>
        <dsp:cNvSpPr/>
      </dsp:nvSpPr>
      <dsp:spPr>
        <a:xfrm>
          <a:off x="2260600" y="417441"/>
          <a:ext cx="91440" cy="17440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744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ADD7501-52DC-4DB3-8AA8-B56DE46658CD}">
      <dsp:nvSpPr>
        <dsp:cNvPr id="0" name=""/>
        <dsp:cNvSpPr/>
      </dsp:nvSpPr>
      <dsp:spPr>
        <a:xfrm>
          <a:off x="1891058" y="2180"/>
          <a:ext cx="830522" cy="415261"/>
        </a:xfrm>
        <a:prstGeom prst="rect">
          <a:avLst/>
        </a:prstGeom>
        <a:solidFill>
          <a:srgbClr val="0069B4">
            <a:hueOff val="0"/>
            <a:satOff val="0"/>
            <a:lumOff val="0"/>
            <a:alphaOff val="0"/>
          </a:srgb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Head of IT (Europe)</a:t>
          </a:r>
          <a:br>
            <a:rPr lang="en-GB" sz="9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</a:br>
          <a:r>
            <a:rPr lang="en-GB" sz="9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Ross Macleod</a:t>
          </a:r>
        </a:p>
      </dsp:txBody>
      <dsp:txXfrm>
        <a:off x="1891058" y="2180"/>
        <a:ext cx="830522" cy="415261"/>
      </dsp:txXfrm>
    </dsp:sp>
    <dsp:sp modelId="{A9257F9A-1AA0-4331-8581-E03BE91AB593}">
      <dsp:nvSpPr>
        <dsp:cNvPr id="0" name=""/>
        <dsp:cNvSpPr/>
      </dsp:nvSpPr>
      <dsp:spPr>
        <a:xfrm>
          <a:off x="1725838" y="591851"/>
          <a:ext cx="1160963" cy="41526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Technical Delivery Manager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Vas Lappas</a:t>
          </a:r>
        </a:p>
      </dsp:txBody>
      <dsp:txXfrm>
        <a:off x="1725838" y="591851"/>
        <a:ext cx="1160963" cy="415261"/>
      </dsp:txXfrm>
    </dsp:sp>
    <dsp:sp modelId="{C8F6DFC8-34D8-4298-8906-719E5AC27D9C}">
      <dsp:nvSpPr>
        <dsp:cNvPr id="0" name=""/>
        <dsp:cNvSpPr/>
      </dsp:nvSpPr>
      <dsp:spPr>
        <a:xfrm>
          <a:off x="1891058" y="1181522"/>
          <a:ext cx="830522" cy="415261"/>
        </a:xfrm>
        <a:prstGeom prst="rect">
          <a:avLst/>
        </a:prstGeom>
        <a:solidFill>
          <a:schemeClr val="tx2">
            <a:lumMod val="10000"/>
            <a:lumOff val="9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solidFill>
                <a:schemeClr val="tx2"/>
              </a:solidFill>
            </a:rPr>
            <a:t> Product Owner / Scrum Master</a:t>
          </a:r>
        </a:p>
      </dsp:txBody>
      <dsp:txXfrm>
        <a:off x="1891058" y="1181522"/>
        <a:ext cx="830522" cy="415261"/>
      </dsp:txXfrm>
    </dsp:sp>
    <dsp:sp modelId="{75A8B070-15C8-44BD-B9DB-E999A20E46AB}">
      <dsp:nvSpPr>
        <dsp:cNvPr id="0" name=""/>
        <dsp:cNvSpPr/>
      </dsp:nvSpPr>
      <dsp:spPr>
        <a:xfrm>
          <a:off x="1388592" y="1680019"/>
          <a:ext cx="830522" cy="415261"/>
        </a:xfrm>
        <a:prstGeom prst="rect">
          <a:avLst/>
        </a:prstGeom>
        <a:solidFill>
          <a:schemeClr val="tx2">
            <a:lumMod val="10000"/>
            <a:lumOff val="90000"/>
          </a:scheme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marR="0" lvl="0" indent="0" algn="ctr" defTabSz="40005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en-GB" sz="900" kern="1200" dirty="0">
              <a:solidFill>
                <a:schemeClr val="tx2"/>
              </a:solidFill>
            </a:rPr>
            <a:t>Data Modeller</a:t>
          </a:r>
        </a:p>
      </dsp:txBody>
      <dsp:txXfrm>
        <a:off x="1388592" y="1680019"/>
        <a:ext cx="830522" cy="415261"/>
      </dsp:txXfrm>
    </dsp:sp>
    <dsp:sp modelId="{0C8A147E-B514-4BC2-9C9B-06D3954E0EEA}">
      <dsp:nvSpPr>
        <dsp:cNvPr id="0" name=""/>
        <dsp:cNvSpPr/>
      </dsp:nvSpPr>
      <dsp:spPr>
        <a:xfrm>
          <a:off x="2393524" y="1680019"/>
          <a:ext cx="830522" cy="415261"/>
        </a:xfrm>
        <a:prstGeom prst="rect">
          <a:avLst/>
        </a:prstGeom>
        <a:solidFill>
          <a:schemeClr val="tx2">
            <a:lumMod val="10000"/>
            <a:lumOff val="90000"/>
          </a:scheme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solidFill>
                <a:schemeClr val="tx2"/>
              </a:solidFill>
              <a:latin typeface="Calibri" panose="020F0502020204030204"/>
              <a:ea typeface="+mn-ea"/>
              <a:cs typeface="+mn-cs"/>
            </a:rPr>
            <a:t>Data Architect</a:t>
          </a:r>
        </a:p>
      </dsp:txBody>
      <dsp:txXfrm>
        <a:off x="2393524" y="1680019"/>
        <a:ext cx="830522" cy="415261"/>
      </dsp:txXfrm>
    </dsp:sp>
    <dsp:sp modelId="{6C33D099-9787-4D15-B9ED-60D27916E647}">
      <dsp:nvSpPr>
        <dsp:cNvPr id="0" name=""/>
        <dsp:cNvSpPr/>
      </dsp:nvSpPr>
      <dsp:spPr>
        <a:xfrm>
          <a:off x="1388592" y="2269690"/>
          <a:ext cx="830522" cy="415261"/>
        </a:xfrm>
        <a:prstGeom prst="rect">
          <a:avLst/>
        </a:prstGeom>
        <a:solidFill>
          <a:schemeClr val="tx2">
            <a:lumMod val="10000"/>
            <a:lumOff val="9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solidFill>
                <a:schemeClr val="tx2"/>
              </a:solidFill>
            </a:rPr>
            <a:t>Business Data Architect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solidFill>
                <a:schemeClr val="tx2"/>
              </a:solidFill>
            </a:rPr>
            <a:t>(Tom Finlay?)</a:t>
          </a:r>
        </a:p>
      </dsp:txBody>
      <dsp:txXfrm>
        <a:off x="1388592" y="2269690"/>
        <a:ext cx="830522" cy="415261"/>
      </dsp:txXfrm>
    </dsp:sp>
    <dsp:sp modelId="{4153772F-9A45-46D0-8C0D-F3F3E4814253}">
      <dsp:nvSpPr>
        <dsp:cNvPr id="0" name=""/>
        <dsp:cNvSpPr/>
      </dsp:nvSpPr>
      <dsp:spPr>
        <a:xfrm>
          <a:off x="2393524" y="2360865"/>
          <a:ext cx="830522" cy="41526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Business Data Architect</a:t>
          </a:r>
          <a:br>
            <a:rPr lang="en-GB" sz="9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</a:br>
          <a:r>
            <a:rPr lang="en-GB" sz="9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Paul Huizinga</a:t>
          </a:r>
        </a:p>
      </dsp:txBody>
      <dsp:txXfrm>
        <a:off x="2393524" y="2360865"/>
        <a:ext cx="830522" cy="415261"/>
      </dsp:txXfrm>
    </dsp:sp>
    <dsp:sp modelId="{B4215682-F069-4F19-825E-7D041A520FF4}">
      <dsp:nvSpPr>
        <dsp:cNvPr id="0" name=""/>
        <dsp:cNvSpPr/>
      </dsp:nvSpPr>
      <dsp:spPr>
        <a:xfrm>
          <a:off x="1388592" y="2980103"/>
          <a:ext cx="830522" cy="41526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Snowflake Developer</a:t>
          </a:r>
        </a:p>
      </dsp:txBody>
      <dsp:txXfrm>
        <a:off x="1388592" y="2980103"/>
        <a:ext cx="830522" cy="415261"/>
      </dsp:txXfrm>
    </dsp:sp>
    <dsp:sp modelId="{A2141FBE-E8BF-48C3-B38D-B67B4922653A}">
      <dsp:nvSpPr>
        <dsp:cNvPr id="0" name=""/>
        <dsp:cNvSpPr/>
      </dsp:nvSpPr>
      <dsp:spPr>
        <a:xfrm>
          <a:off x="2393524" y="2980103"/>
          <a:ext cx="830522" cy="41526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Snowflake Developer</a:t>
          </a:r>
        </a:p>
      </dsp:txBody>
      <dsp:txXfrm>
        <a:off x="2393524" y="2980103"/>
        <a:ext cx="830522" cy="415261"/>
      </dsp:txXfrm>
    </dsp:sp>
    <dsp:sp modelId="{03CB0DB2-EEDF-406B-8CC6-561EE0948774}">
      <dsp:nvSpPr>
        <dsp:cNvPr id="0" name=""/>
        <dsp:cNvSpPr/>
      </dsp:nvSpPr>
      <dsp:spPr>
        <a:xfrm>
          <a:off x="1388592" y="3437156"/>
          <a:ext cx="830522" cy="415261"/>
        </a:xfrm>
        <a:prstGeom prst="rect">
          <a:avLst/>
        </a:prstGeom>
        <a:solidFill>
          <a:schemeClr val="tx2">
            <a:lumMod val="10000"/>
            <a:lumOff val="9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solidFill>
                <a:schemeClr val="tx2"/>
              </a:solidFill>
            </a:rPr>
            <a:t>Collibra Analyst</a:t>
          </a:r>
        </a:p>
      </dsp:txBody>
      <dsp:txXfrm>
        <a:off x="1388592" y="3437156"/>
        <a:ext cx="830522" cy="415261"/>
      </dsp:txXfrm>
    </dsp:sp>
    <dsp:sp modelId="{71EB6095-A7DF-488C-AC96-CA968036D846}">
      <dsp:nvSpPr>
        <dsp:cNvPr id="0" name=""/>
        <dsp:cNvSpPr/>
      </dsp:nvSpPr>
      <dsp:spPr>
        <a:xfrm>
          <a:off x="2393524" y="3437156"/>
          <a:ext cx="830522" cy="415261"/>
        </a:xfrm>
        <a:prstGeom prst="rect">
          <a:avLst/>
        </a:prstGeom>
        <a:solidFill>
          <a:schemeClr val="tx2">
            <a:lumMod val="10000"/>
            <a:lumOff val="9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solidFill>
                <a:schemeClr val="tx2"/>
              </a:solidFill>
            </a:rPr>
            <a:t>Aladdin SME</a:t>
          </a:r>
        </a:p>
      </dsp:txBody>
      <dsp:txXfrm>
        <a:off x="2393524" y="3437156"/>
        <a:ext cx="830522" cy="415261"/>
      </dsp:txXfrm>
    </dsp:sp>
    <dsp:sp modelId="{5D85EC3C-B95A-48C7-9772-747739BAD6D3}">
      <dsp:nvSpPr>
        <dsp:cNvPr id="0" name=""/>
        <dsp:cNvSpPr/>
      </dsp:nvSpPr>
      <dsp:spPr>
        <a:xfrm>
          <a:off x="1388592" y="3912967"/>
          <a:ext cx="830522" cy="415261"/>
        </a:xfrm>
        <a:prstGeom prst="rect">
          <a:avLst/>
        </a:prstGeom>
        <a:solidFill>
          <a:schemeClr val="tx2">
            <a:lumMod val="10000"/>
            <a:lumOff val="9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solidFill>
                <a:schemeClr val="tx2"/>
              </a:solidFill>
            </a:rPr>
            <a:t>ADC SME</a:t>
          </a:r>
        </a:p>
      </dsp:txBody>
      <dsp:txXfrm>
        <a:off x="1388592" y="3912967"/>
        <a:ext cx="830522" cy="415261"/>
      </dsp:txXfrm>
    </dsp:sp>
    <dsp:sp modelId="{ACAC421F-3E64-408F-8B3A-21B2A52B6E47}">
      <dsp:nvSpPr>
        <dsp:cNvPr id="0" name=""/>
        <dsp:cNvSpPr/>
      </dsp:nvSpPr>
      <dsp:spPr>
        <a:xfrm>
          <a:off x="2393524" y="3912967"/>
          <a:ext cx="830522" cy="415261"/>
        </a:xfrm>
        <a:prstGeom prst="rec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Snowflake SME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 err="1"/>
            <a:t>Catalin</a:t>
          </a:r>
          <a:r>
            <a:rPr lang="en-GB" sz="900" kern="1200" dirty="0"/>
            <a:t> </a:t>
          </a:r>
          <a:r>
            <a:rPr lang="en-GB" sz="900" kern="1200" dirty="0" err="1"/>
            <a:t>Bobarnac</a:t>
          </a:r>
          <a:endParaRPr lang="en-GB" sz="900" kern="1200" dirty="0"/>
        </a:p>
      </dsp:txBody>
      <dsp:txXfrm>
        <a:off x="2393524" y="3912967"/>
        <a:ext cx="830522" cy="41526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9713DF-2407-4055-8568-43F271C48503}">
      <dsp:nvSpPr>
        <dsp:cNvPr id="0" name=""/>
        <dsp:cNvSpPr/>
      </dsp:nvSpPr>
      <dsp:spPr>
        <a:xfrm>
          <a:off x="1581865" y="1474494"/>
          <a:ext cx="91440" cy="19981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99816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D87D60-8CF8-460F-B992-3A64FD60D012}">
      <dsp:nvSpPr>
        <dsp:cNvPr id="0" name=""/>
        <dsp:cNvSpPr/>
      </dsp:nvSpPr>
      <dsp:spPr>
        <a:xfrm>
          <a:off x="1051923" y="798924"/>
          <a:ext cx="575662" cy="1998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9908"/>
              </a:lnTo>
              <a:lnTo>
                <a:pt x="575662" y="99908"/>
              </a:lnTo>
              <a:lnTo>
                <a:pt x="575662" y="19981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6FF293-80F8-4BED-89C1-5338489BCAEB}">
      <dsp:nvSpPr>
        <dsp:cNvPr id="0" name=""/>
        <dsp:cNvSpPr/>
      </dsp:nvSpPr>
      <dsp:spPr>
        <a:xfrm>
          <a:off x="430540" y="1474494"/>
          <a:ext cx="91440" cy="19981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99816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E915928-9920-42A7-B5FB-4CF93145B426}">
      <dsp:nvSpPr>
        <dsp:cNvPr id="0" name=""/>
        <dsp:cNvSpPr/>
      </dsp:nvSpPr>
      <dsp:spPr>
        <a:xfrm>
          <a:off x="476260" y="798924"/>
          <a:ext cx="575662" cy="199816"/>
        </a:xfrm>
        <a:custGeom>
          <a:avLst/>
          <a:gdLst/>
          <a:ahLst/>
          <a:cxnLst/>
          <a:rect l="0" t="0" r="0" b="0"/>
          <a:pathLst>
            <a:path>
              <a:moveTo>
                <a:pt x="575662" y="0"/>
              </a:moveTo>
              <a:lnTo>
                <a:pt x="575662" y="99908"/>
              </a:lnTo>
              <a:lnTo>
                <a:pt x="0" y="99908"/>
              </a:lnTo>
              <a:lnTo>
                <a:pt x="0" y="19981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ADD7501-52DC-4DB3-8AA8-B56DE46658CD}">
      <dsp:nvSpPr>
        <dsp:cNvPr id="0" name=""/>
        <dsp:cNvSpPr/>
      </dsp:nvSpPr>
      <dsp:spPr>
        <a:xfrm>
          <a:off x="576169" y="323170"/>
          <a:ext cx="951507" cy="47575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RAFT IT Workstream Lead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Sandie Lovie</a:t>
          </a:r>
        </a:p>
      </dsp:txBody>
      <dsp:txXfrm>
        <a:off x="576169" y="323170"/>
        <a:ext cx="951507" cy="475753"/>
      </dsp:txXfrm>
    </dsp:sp>
    <dsp:sp modelId="{A9257F9A-1AA0-4331-8581-E03BE91AB593}">
      <dsp:nvSpPr>
        <dsp:cNvPr id="0" name=""/>
        <dsp:cNvSpPr/>
      </dsp:nvSpPr>
      <dsp:spPr>
        <a:xfrm>
          <a:off x="507" y="998741"/>
          <a:ext cx="951507" cy="47575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Product Owner (Data Extracts)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?</a:t>
          </a:r>
        </a:p>
      </dsp:txBody>
      <dsp:txXfrm>
        <a:off x="507" y="998741"/>
        <a:ext cx="951507" cy="475753"/>
      </dsp:txXfrm>
    </dsp:sp>
    <dsp:sp modelId="{448AE328-7CB2-4AA4-83BB-EA4AFE3CFE4D}">
      <dsp:nvSpPr>
        <dsp:cNvPr id="0" name=""/>
        <dsp:cNvSpPr/>
      </dsp:nvSpPr>
      <dsp:spPr>
        <a:xfrm>
          <a:off x="507" y="1674311"/>
          <a:ext cx="951507" cy="47575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Team Members</a:t>
          </a:r>
        </a:p>
      </dsp:txBody>
      <dsp:txXfrm>
        <a:off x="507" y="1674311"/>
        <a:ext cx="951507" cy="475753"/>
      </dsp:txXfrm>
    </dsp:sp>
    <dsp:sp modelId="{C8F6DFC8-34D8-4298-8906-719E5AC27D9C}">
      <dsp:nvSpPr>
        <dsp:cNvPr id="0" name=""/>
        <dsp:cNvSpPr/>
      </dsp:nvSpPr>
      <dsp:spPr>
        <a:xfrm>
          <a:off x="1151831" y="998741"/>
          <a:ext cx="951507" cy="47575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Product Owner (Interfaces)</a:t>
          </a:r>
          <a:br>
            <a:rPr lang="en-GB" sz="900" kern="1200" dirty="0"/>
          </a:br>
          <a:r>
            <a:rPr lang="en-GB" sz="900" kern="1200" dirty="0"/>
            <a:t>Maarten Winter</a:t>
          </a:r>
        </a:p>
      </dsp:txBody>
      <dsp:txXfrm>
        <a:off x="1151831" y="998741"/>
        <a:ext cx="951507" cy="475753"/>
      </dsp:txXfrm>
    </dsp:sp>
    <dsp:sp modelId="{ACAC421F-3E64-408F-8B3A-21B2A52B6E47}">
      <dsp:nvSpPr>
        <dsp:cNvPr id="0" name=""/>
        <dsp:cNvSpPr/>
      </dsp:nvSpPr>
      <dsp:spPr>
        <a:xfrm>
          <a:off x="1151831" y="1674311"/>
          <a:ext cx="951507" cy="47575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Team Members</a:t>
          </a:r>
        </a:p>
      </dsp:txBody>
      <dsp:txXfrm>
        <a:off x="1151831" y="1674311"/>
        <a:ext cx="951507" cy="4757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05/10/2022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05/10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3700" y="692150"/>
            <a:ext cx="616267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C084E-8746-0F44-88C4-1B27154EA89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34192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C084E-8746-0F44-88C4-1B27154EA89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6274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C084E-8746-0F44-88C4-1B27154EA89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9677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C084E-8746-0F44-88C4-1B27154EA89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9626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C084E-8746-0F44-88C4-1B27154EA89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7443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DC084E-8746-0F44-88C4-1B27154EA89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0877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 Cover (Better Ques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</p:spTree>
    <p:extLst>
      <p:ext uri="{BB962C8B-B14F-4D97-AF65-F5344CB8AC3E}">
        <p14:creationId xmlns:p14="http://schemas.microsoft.com/office/powerpoint/2010/main" val="3062192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9"/>
          </p:nvPr>
        </p:nvSpPr>
        <p:spPr>
          <a:xfrm>
            <a:off x="576033" y="1557338"/>
            <a:ext cx="5432079" cy="3979310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20"/>
          </p:nvPr>
        </p:nvSpPr>
        <p:spPr>
          <a:xfrm>
            <a:off x="6188827" y="1557338"/>
            <a:ext cx="5432079" cy="3979310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B95B8A2-8DCF-524B-AE94-0D60A2C482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302" y="955517"/>
            <a:ext cx="11045746" cy="40827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CFB2EED-04C3-904C-8E92-3C0237CE58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300" y="368300"/>
            <a:ext cx="11045750" cy="3600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algn="l">
              <a:lnSpc>
                <a:spcPct val="108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2E90A51-B0FF-1342-85CA-08C29FDD3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0233" y="5839269"/>
            <a:ext cx="8644500" cy="754435"/>
          </a:xfrm>
          <a:prstGeom prst="rect">
            <a:avLst/>
          </a:prstGeom>
        </p:spPr>
        <p:txBody>
          <a:bodyPr l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</a:defRPr>
            </a:lvl1pPr>
            <a:lvl2pPr marL="342892" indent="0">
              <a:buNone/>
              <a:defRPr sz="600" i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783" indent="0">
              <a:buNone/>
              <a:defRPr sz="600" i="1"/>
            </a:lvl3pPr>
            <a:lvl4pPr marL="1028675" indent="0">
              <a:buNone/>
              <a:defRPr sz="600" i="1"/>
            </a:lvl4pPr>
            <a:lvl5pPr marL="1371566" indent="0">
              <a:buNone/>
              <a:defRPr sz="600" i="1"/>
            </a:lvl5pPr>
          </a:lstStyle>
          <a:p>
            <a:pPr lvl="0"/>
            <a:r>
              <a:rPr lang="en-US"/>
              <a:t>Place footnotes in this area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593666" y="6443962"/>
            <a:ext cx="11046283" cy="480725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marR="0" indent="0" algn="ctr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sz="1000" b="1"/>
            </a:lvl1pPr>
          </a:lstStyle>
          <a:p>
            <a:pPr marL="0" marR="0" lvl="0" indent="0" algn="l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For professional investors only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5332697-6497-46D5-B15B-2A10D4356243}"/>
              </a:ext>
            </a:extLst>
          </p:cNvPr>
          <p:cNvSpPr/>
          <p:nvPr/>
        </p:nvSpPr>
        <p:spPr>
          <a:xfrm>
            <a:off x="11781773" y="5642303"/>
            <a:ext cx="420154" cy="12192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AB8296F-BD85-48AB-BFC1-68D5CD50E441}"/>
              </a:ext>
            </a:extLst>
          </p:cNvPr>
          <p:cNvSpPr/>
          <p:nvPr/>
        </p:nvSpPr>
        <p:spPr>
          <a:xfrm>
            <a:off x="11840971" y="6429171"/>
            <a:ext cx="3675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478F02DA-AB65-4DE3-8C32-C1DFFF12922F}" type="slidenum">
              <a:rPr lang="nl-NL" sz="1200" b="1" i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1200" b="1">
              <a:solidFill>
                <a:schemeClr val="bg1"/>
              </a:solidFill>
            </a:endParaRPr>
          </a:p>
        </p:txBody>
      </p:sp>
      <p:pic>
        <p:nvPicPr>
          <p:cNvPr id="6" name="Picture 5" descr="A picture containing clipart&#10;&#10;Description automatically generated">
            <a:extLst>
              <a:ext uri="{FF2B5EF4-FFF2-40B4-BE49-F238E27FC236}">
                <a16:creationId xmlns:a16="http://schemas.microsoft.com/office/drawing/2014/main" id="{95F11D0D-C386-4657-8A97-5CF64A23E7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5665" y="6200815"/>
            <a:ext cx="1404731" cy="408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3675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18"/>
          </p:nvPr>
        </p:nvSpPr>
        <p:spPr>
          <a:xfrm>
            <a:off x="587330" y="1559420"/>
            <a:ext cx="11046283" cy="40274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B95B8A2-8DCF-524B-AE94-0D60A2C482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302" y="955517"/>
            <a:ext cx="11045746" cy="40827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CFB2EED-04C3-904C-8E92-3C0237CE58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300" y="368300"/>
            <a:ext cx="11045750" cy="3600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algn="l">
              <a:lnSpc>
                <a:spcPct val="108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2E90A51-B0FF-1342-85CA-08C29FDD3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0233" y="5839269"/>
            <a:ext cx="8644500" cy="754435"/>
          </a:xfrm>
          <a:prstGeom prst="rect">
            <a:avLst/>
          </a:prstGeom>
        </p:spPr>
        <p:txBody>
          <a:bodyPr l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</a:defRPr>
            </a:lvl1pPr>
            <a:lvl2pPr marL="342892" indent="0">
              <a:buNone/>
              <a:defRPr sz="600" i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783" indent="0">
              <a:buNone/>
              <a:defRPr sz="600" i="1"/>
            </a:lvl3pPr>
            <a:lvl4pPr marL="1028675" indent="0">
              <a:buNone/>
              <a:defRPr sz="600" i="1"/>
            </a:lvl4pPr>
            <a:lvl5pPr marL="1371566" indent="0">
              <a:buNone/>
              <a:defRPr sz="600" i="1"/>
            </a:lvl5pPr>
          </a:lstStyle>
          <a:p>
            <a:pPr lvl="0"/>
            <a:r>
              <a:rPr lang="en-US"/>
              <a:t>Place footnotes in this area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593666" y="6401432"/>
            <a:ext cx="11046283" cy="480725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marR="0" indent="0" algn="ctr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sz="1000" b="1"/>
            </a:lvl1pPr>
          </a:lstStyle>
          <a:p>
            <a:pPr marL="0" marR="0" lvl="0" indent="0" algn="l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For professional investors only</a:t>
            </a:r>
            <a:endParaRPr lang="en-GB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C3B11A42-AA8E-4E52-81E3-41213D91E4FB}"/>
              </a:ext>
            </a:extLst>
          </p:cNvPr>
          <p:cNvSpPr/>
          <p:nvPr/>
        </p:nvSpPr>
        <p:spPr>
          <a:xfrm>
            <a:off x="11781773" y="5642303"/>
            <a:ext cx="420154" cy="12192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F3B1310-C50F-4D06-9001-C7C2C04D4160}"/>
              </a:ext>
            </a:extLst>
          </p:cNvPr>
          <p:cNvSpPr/>
          <p:nvPr/>
        </p:nvSpPr>
        <p:spPr>
          <a:xfrm>
            <a:off x="11840971" y="6429171"/>
            <a:ext cx="3675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478F02DA-AB65-4DE3-8C32-C1DFFF12922F}" type="slidenum">
              <a:rPr lang="nl-NL" sz="1200" b="1" i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1200" b="1">
              <a:solidFill>
                <a:schemeClr val="bg1"/>
              </a:solidFill>
            </a:endParaRPr>
          </a:p>
        </p:txBody>
      </p:sp>
      <p:pic>
        <p:nvPicPr>
          <p:cNvPr id="5" name="Picture 4" descr="A picture containing clipart&#10;&#10;Description automatically generated">
            <a:extLst>
              <a:ext uri="{FF2B5EF4-FFF2-40B4-BE49-F238E27FC236}">
                <a16:creationId xmlns:a16="http://schemas.microsoft.com/office/drawing/2014/main" id="{CBE615E6-6282-461E-BF8A-FB12691722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5665" y="6200815"/>
            <a:ext cx="1404731" cy="408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5933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18"/>
          </p:nvPr>
        </p:nvSpPr>
        <p:spPr>
          <a:xfrm>
            <a:off x="587329" y="1566708"/>
            <a:ext cx="5431628" cy="36398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0" name="Chart Placeholder 2"/>
          <p:cNvSpPr>
            <a:spLocks noGrp="1"/>
          </p:cNvSpPr>
          <p:nvPr>
            <p:ph type="chart" sz="quarter" idx="19"/>
          </p:nvPr>
        </p:nvSpPr>
        <p:spPr>
          <a:xfrm>
            <a:off x="6190689" y="1566708"/>
            <a:ext cx="5431628" cy="36398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B95B8A2-8DCF-524B-AE94-0D60A2C482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302" y="955517"/>
            <a:ext cx="11045746" cy="40827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CFB2EED-04C3-904C-8E92-3C0237CE58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300" y="368300"/>
            <a:ext cx="11045750" cy="3600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algn="l">
              <a:lnSpc>
                <a:spcPct val="108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02CA1FF-D4A3-4E32-993A-B5BDCEB42C81}"/>
              </a:ext>
            </a:extLst>
          </p:cNvPr>
          <p:cNvCxnSpPr/>
          <p:nvPr/>
        </p:nvCxnSpPr>
        <p:spPr>
          <a:xfrm>
            <a:off x="576036" y="868052"/>
            <a:ext cx="11046283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2E90A51-B0FF-1342-85CA-08C29FDD3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0233" y="5839269"/>
            <a:ext cx="8644500" cy="754435"/>
          </a:xfrm>
          <a:prstGeom prst="rect">
            <a:avLst/>
          </a:prstGeom>
        </p:spPr>
        <p:txBody>
          <a:bodyPr l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</a:defRPr>
            </a:lvl1pPr>
            <a:lvl2pPr marL="342892" indent="0">
              <a:buNone/>
              <a:defRPr sz="600" i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783" indent="0">
              <a:buNone/>
              <a:defRPr sz="600" i="1"/>
            </a:lvl3pPr>
            <a:lvl4pPr marL="1028675" indent="0">
              <a:buNone/>
              <a:defRPr sz="600" i="1"/>
            </a:lvl4pPr>
            <a:lvl5pPr marL="1371566" indent="0">
              <a:buNone/>
              <a:defRPr sz="600" i="1"/>
            </a:lvl5pPr>
          </a:lstStyle>
          <a:p>
            <a:pPr lvl="0"/>
            <a:r>
              <a:rPr lang="en-US"/>
              <a:t>Place footnotes in this area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593666" y="6401432"/>
            <a:ext cx="11046283" cy="480725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marR="0" indent="0" algn="ctr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sz="1000" b="1"/>
            </a:lvl1pPr>
          </a:lstStyle>
          <a:p>
            <a:pPr marL="0" marR="0" lvl="0" indent="0" algn="l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For professional investors only</a:t>
            </a:r>
            <a:endParaRPr lang="en-GB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A82A3887-D000-42D8-B495-979F3B7B93A1}"/>
              </a:ext>
            </a:extLst>
          </p:cNvPr>
          <p:cNvSpPr/>
          <p:nvPr/>
        </p:nvSpPr>
        <p:spPr>
          <a:xfrm>
            <a:off x="11781773" y="5642303"/>
            <a:ext cx="420154" cy="12192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44CA102-9929-4B9B-A763-4ACB5DE38BC2}"/>
              </a:ext>
            </a:extLst>
          </p:cNvPr>
          <p:cNvSpPr/>
          <p:nvPr/>
        </p:nvSpPr>
        <p:spPr>
          <a:xfrm>
            <a:off x="11840971" y="6429171"/>
            <a:ext cx="3675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478F02DA-AB65-4DE3-8C32-C1DFFF12922F}" type="slidenum">
              <a:rPr lang="nl-NL" sz="1200" b="1" i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1200" b="1">
              <a:solidFill>
                <a:schemeClr val="bg1"/>
              </a:solidFill>
            </a:endParaRPr>
          </a:p>
        </p:txBody>
      </p:sp>
      <p:pic>
        <p:nvPicPr>
          <p:cNvPr id="5" name="Picture 4" descr="A picture containing clipart&#10;&#10;Description automatically generated">
            <a:extLst>
              <a:ext uri="{FF2B5EF4-FFF2-40B4-BE49-F238E27FC236}">
                <a16:creationId xmlns:a16="http://schemas.microsoft.com/office/drawing/2014/main" id="{819AED59-8BA2-49B4-A246-BCE02891B4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5665" y="6200815"/>
            <a:ext cx="1404731" cy="408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3193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18"/>
          </p:nvPr>
        </p:nvSpPr>
        <p:spPr>
          <a:xfrm>
            <a:off x="587327" y="1566691"/>
            <a:ext cx="3553850" cy="36398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Chart Placeholder 2"/>
          <p:cNvSpPr>
            <a:spLocks noGrp="1"/>
          </p:cNvSpPr>
          <p:nvPr>
            <p:ph type="chart" sz="quarter" idx="20"/>
          </p:nvPr>
        </p:nvSpPr>
        <p:spPr>
          <a:xfrm>
            <a:off x="4325471" y="1566693"/>
            <a:ext cx="3553850" cy="36398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8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8063190" y="1566692"/>
            <a:ext cx="3553850" cy="36398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7B95B8A2-8DCF-524B-AE94-0D60A2C482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302" y="955517"/>
            <a:ext cx="11045746" cy="40827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CFB2EED-04C3-904C-8E92-3C0237CE58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300" y="368300"/>
            <a:ext cx="11045750" cy="3600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algn="l">
              <a:lnSpc>
                <a:spcPct val="108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02CA1FF-D4A3-4E32-993A-B5BDCEB42C81}"/>
              </a:ext>
            </a:extLst>
          </p:cNvPr>
          <p:cNvCxnSpPr/>
          <p:nvPr/>
        </p:nvCxnSpPr>
        <p:spPr>
          <a:xfrm>
            <a:off x="576036" y="868052"/>
            <a:ext cx="11046283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2E90A51-B0FF-1342-85CA-08C29FDD3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0233" y="5839269"/>
            <a:ext cx="8644500" cy="754435"/>
          </a:xfrm>
          <a:prstGeom prst="rect">
            <a:avLst/>
          </a:prstGeom>
        </p:spPr>
        <p:txBody>
          <a:bodyPr l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</a:defRPr>
            </a:lvl1pPr>
            <a:lvl2pPr marL="342892" indent="0">
              <a:buNone/>
              <a:defRPr sz="600" i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783" indent="0">
              <a:buNone/>
              <a:defRPr sz="600" i="1"/>
            </a:lvl3pPr>
            <a:lvl4pPr marL="1028675" indent="0">
              <a:buNone/>
              <a:defRPr sz="600" i="1"/>
            </a:lvl4pPr>
            <a:lvl5pPr marL="1371566" indent="0">
              <a:buNone/>
              <a:defRPr sz="600" i="1"/>
            </a:lvl5pPr>
          </a:lstStyle>
          <a:p>
            <a:pPr lvl="0"/>
            <a:r>
              <a:rPr lang="en-US"/>
              <a:t>Place footnotes in this area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593666" y="6401432"/>
            <a:ext cx="11046283" cy="480725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marR="0" indent="0" algn="ctr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sz="1000" b="1"/>
            </a:lvl1pPr>
          </a:lstStyle>
          <a:p>
            <a:pPr marL="0" marR="0" lvl="0" indent="0" algn="l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For professional investors only</a:t>
            </a:r>
            <a:endParaRPr lang="en-GB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F701385B-1472-4FD0-A714-B8ECCDF64E99}"/>
              </a:ext>
            </a:extLst>
          </p:cNvPr>
          <p:cNvSpPr/>
          <p:nvPr/>
        </p:nvSpPr>
        <p:spPr>
          <a:xfrm>
            <a:off x="11781773" y="5642303"/>
            <a:ext cx="420154" cy="12192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DC732B-1978-480E-9791-4B1C489710DF}"/>
              </a:ext>
            </a:extLst>
          </p:cNvPr>
          <p:cNvSpPr/>
          <p:nvPr/>
        </p:nvSpPr>
        <p:spPr>
          <a:xfrm>
            <a:off x="11840971" y="6429171"/>
            <a:ext cx="3675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478F02DA-AB65-4DE3-8C32-C1DFFF12922F}" type="slidenum">
              <a:rPr lang="nl-NL" sz="1200" b="1" i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1200" b="1">
              <a:solidFill>
                <a:schemeClr val="bg1"/>
              </a:solidFill>
            </a:endParaRPr>
          </a:p>
        </p:txBody>
      </p:sp>
      <p:pic>
        <p:nvPicPr>
          <p:cNvPr id="5" name="Picture 4" descr="A picture containing clipart&#10;&#10;Description automatically generated">
            <a:extLst>
              <a:ext uri="{FF2B5EF4-FFF2-40B4-BE49-F238E27FC236}">
                <a16:creationId xmlns:a16="http://schemas.microsoft.com/office/drawing/2014/main" id="{9A11B5CD-BED0-4A3E-9D49-BA5182ED90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5665" y="6200815"/>
            <a:ext cx="1404731" cy="408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0558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18"/>
          </p:nvPr>
        </p:nvSpPr>
        <p:spPr>
          <a:xfrm>
            <a:off x="576033" y="1566693"/>
            <a:ext cx="5431628" cy="18716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Chart Placeholder 2"/>
          <p:cNvSpPr>
            <a:spLocks noGrp="1"/>
          </p:cNvSpPr>
          <p:nvPr>
            <p:ph type="chart" sz="quarter" idx="20"/>
          </p:nvPr>
        </p:nvSpPr>
        <p:spPr>
          <a:xfrm>
            <a:off x="576033" y="3590755"/>
            <a:ext cx="5431628" cy="18716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8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184608" y="1566693"/>
            <a:ext cx="5431628" cy="18716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1" name="Chart Placeholder 2"/>
          <p:cNvSpPr>
            <a:spLocks noGrp="1"/>
          </p:cNvSpPr>
          <p:nvPr>
            <p:ph type="chart" sz="quarter" idx="22"/>
          </p:nvPr>
        </p:nvSpPr>
        <p:spPr>
          <a:xfrm>
            <a:off x="6189279" y="3590755"/>
            <a:ext cx="5431628" cy="18716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7B95B8A2-8DCF-524B-AE94-0D60A2C482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302" y="955517"/>
            <a:ext cx="11045746" cy="40827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CFB2EED-04C3-904C-8E92-3C0237CE58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300" y="368300"/>
            <a:ext cx="11045750" cy="3600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algn="l">
              <a:lnSpc>
                <a:spcPct val="108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02CA1FF-D4A3-4E32-993A-B5BDCEB42C81}"/>
              </a:ext>
            </a:extLst>
          </p:cNvPr>
          <p:cNvCxnSpPr/>
          <p:nvPr/>
        </p:nvCxnSpPr>
        <p:spPr>
          <a:xfrm>
            <a:off x="576036" y="868052"/>
            <a:ext cx="11046283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2E90A51-B0FF-1342-85CA-08C29FDD3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0233" y="5839269"/>
            <a:ext cx="8644500" cy="754435"/>
          </a:xfrm>
          <a:prstGeom prst="rect">
            <a:avLst/>
          </a:prstGeom>
        </p:spPr>
        <p:txBody>
          <a:bodyPr l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</a:defRPr>
            </a:lvl1pPr>
            <a:lvl2pPr marL="342892" indent="0">
              <a:buNone/>
              <a:defRPr sz="600" i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783" indent="0">
              <a:buNone/>
              <a:defRPr sz="600" i="1"/>
            </a:lvl3pPr>
            <a:lvl4pPr marL="1028675" indent="0">
              <a:buNone/>
              <a:defRPr sz="600" i="1"/>
            </a:lvl4pPr>
            <a:lvl5pPr marL="1371566" indent="0">
              <a:buNone/>
              <a:defRPr sz="600" i="1"/>
            </a:lvl5pPr>
          </a:lstStyle>
          <a:p>
            <a:pPr lvl="0"/>
            <a:r>
              <a:rPr lang="en-US"/>
              <a:t>Place footnotes in this area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593666" y="6401432"/>
            <a:ext cx="11046283" cy="480725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marR="0" indent="0" algn="ctr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sz="1000" b="1"/>
            </a:lvl1pPr>
          </a:lstStyle>
          <a:p>
            <a:pPr marL="0" marR="0" lvl="0" indent="0" algn="l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For professional investors only</a:t>
            </a:r>
            <a:endParaRPr lang="en-GB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C923CB7B-922D-44A6-B6CE-9D3F93EA432D}"/>
              </a:ext>
            </a:extLst>
          </p:cNvPr>
          <p:cNvSpPr/>
          <p:nvPr/>
        </p:nvSpPr>
        <p:spPr>
          <a:xfrm>
            <a:off x="11781773" y="5642303"/>
            <a:ext cx="420154" cy="12192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B90844-7B5F-4EE4-BBE8-F02507A0C283}"/>
              </a:ext>
            </a:extLst>
          </p:cNvPr>
          <p:cNvSpPr/>
          <p:nvPr/>
        </p:nvSpPr>
        <p:spPr>
          <a:xfrm>
            <a:off x="11840971" y="6429171"/>
            <a:ext cx="3675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478F02DA-AB65-4DE3-8C32-C1DFFF12922F}" type="slidenum">
              <a:rPr lang="nl-NL" sz="1200" b="1" i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1200" b="1">
              <a:solidFill>
                <a:schemeClr val="bg1"/>
              </a:solidFill>
            </a:endParaRPr>
          </a:p>
        </p:txBody>
      </p:sp>
      <p:pic>
        <p:nvPicPr>
          <p:cNvPr id="5" name="Picture 4" descr="A picture containing clipart&#10;&#10;Description automatically generated">
            <a:extLst>
              <a:ext uri="{FF2B5EF4-FFF2-40B4-BE49-F238E27FC236}">
                <a16:creationId xmlns:a16="http://schemas.microsoft.com/office/drawing/2014/main" id="{2BCADF29-6117-490B-AF47-9BC2A0B754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5665" y="6200815"/>
            <a:ext cx="1404731" cy="408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2393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>
            <a:extLst>
              <a:ext uri="{FF2B5EF4-FFF2-40B4-BE49-F238E27FC236}">
                <a16:creationId xmlns:a16="http://schemas.microsoft.com/office/drawing/2014/main" id="{7B95B8A2-8DCF-524B-AE94-0D60A2C482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302" y="952193"/>
            <a:ext cx="11045746" cy="40827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CFB2EED-04C3-904C-8E92-3C0237CE58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300" y="368300"/>
            <a:ext cx="11045750" cy="3600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algn="l">
              <a:lnSpc>
                <a:spcPct val="108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20"/>
          </p:nvPr>
        </p:nvSpPr>
        <p:spPr>
          <a:xfrm>
            <a:off x="6188827" y="1565964"/>
            <a:ext cx="5432079" cy="3970684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CFE50724-9E4D-449F-A8DB-9B834D5B663C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576033" y="1565964"/>
            <a:ext cx="5432079" cy="39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02CA1FF-D4A3-4E32-993A-B5BDCEB42C81}"/>
              </a:ext>
            </a:extLst>
          </p:cNvPr>
          <p:cNvCxnSpPr/>
          <p:nvPr/>
        </p:nvCxnSpPr>
        <p:spPr>
          <a:xfrm>
            <a:off x="576036" y="870268"/>
            <a:ext cx="11046283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2E90A51-B0FF-1342-85CA-08C29FDD3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0233" y="5839269"/>
            <a:ext cx="8644500" cy="754435"/>
          </a:xfrm>
          <a:prstGeom prst="rect">
            <a:avLst/>
          </a:prstGeom>
        </p:spPr>
        <p:txBody>
          <a:bodyPr l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</a:defRPr>
            </a:lvl1pPr>
            <a:lvl2pPr marL="342892" indent="0">
              <a:buNone/>
              <a:defRPr sz="600" i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783" indent="0">
              <a:buNone/>
              <a:defRPr sz="600" i="1"/>
            </a:lvl3pPr>
            <a:lvl4pPr marL="1028675" indent="0">
              <a:buNone/>
              <a:defRPr sz="600" i="1"/>
            </a:lvl4pPr>
            <a:lvl5pPr marL="1371566" indent="0">
              <a:buNone/>
              <a:defRPr sz="600" i="1"/>
            </a:lvl5pPr>
          </a:lstStyle>
          <a:p>
            <a:pPr lvl="0"/>
            <a:r>
              <a:rPr lang="en-US"/>
              <a:t>Place footnotes in this area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593666" y="6401432"/>
            <a:ext cx="11046283" cy="480725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marR="0" indent="0" algn="ctr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sz="1000" b="1"/>
            </a:lvl1pPr>
          </a:lstStyle>
          <a:p>
            <a:pPr marL="0" marR="0" lvl="0" indent="0" algn="l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For professional investors only</a:t>
            </a:r>
            <a:endParaRPr lang="en-GB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3AF2D0C2-83EC-4C53-91C7-3F7427ADDFCB}"/>
              </a:ext>
            </a:extLst>
          </p:cNvPr>
          <p:cNvSpPr/>
          <p:nvPr/>
        </p:nvSpPr>
        <p:spPr>
          <a:xfrm>
            <a:off x="11781773" y="5642303"/>
            <a:ext cx="420154" cy="12192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88D1E4-FDF2-41E1-80AD-5C8E9AB6BA48}"/>
              </a:ext>
            </a:extLst>
          </p:cNvPr>
          <p:cNvSpPr/>
          <p:nvPr/>
        </p:nvSpPr>
        <p:spPr>
          <a:xfrm>
            <a:off x="11840971" y="6429171"/>
            <a:ext cx="3675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478F02DA-AB65-4DE3-8C32-C1DFFF12922F}" type="slidenum">
              <a:rPr lang="nl-NL" sz="1200" b="1" i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1200" b="1">
              <a:solidFill>
                <a:schemeClr val="bg1"/>
              </a:solidFill>
            </a:endParaRPr>
          </a:p>
        </p:txBody>
      </p:sp>
      <p:pic>
        <p:nvPicPr>
          <p:cNvPr id="6" name="Picture 5" descr="A picture containing clipart&#10;&#10;Description automatically generated">
            <a:extLst>
              <a:ext uri="{FF2B5EF4-FFF2-40B4-BE49-F238E27FC236}">
                <a16:creationId xmlns:a16="http://schemas.microsoft.com/office/drawing/2014/main" id="{214DD552-6F08-43AE-8A9C-47D1E1DC26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5665" y="6200815"/>
            <a:ext cx="1404731" cy="408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2337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20"/>
          </p:nvPr>
        </p:nvSpPr>
        <p:spPr>
          <a:xfrm>
            <a:off x="6188827" y="1565964"/>
            <a:ext cx="5432079" cy="3970684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398AC78-DD96-449A-B929-A26B7025394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76033" y="1565964"/>
            <a:ext cx="5432079" cy="396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B95B8A2-8DCF-524B-AE94-0D60A2C482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302" y="955517"/>
            <a:ext cx="11045746" cy="40827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CFB2EED-04C3-904C-8E92-3C0237CE58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300" y="368300"/>
            <a:ext cx="11045750" cy="3600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algn="l">
              <a:lnSpc>
                <a:spcPct val="108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02CA1FF-D4A3-4E32-993A-B5BDCEB42C81}"/>
              </a:ext>
            </a:extLst>
          </p:cNvPr>
          <p:cNvCxnSpPr/>
          <p:nvPr/>
        </p:nvCxnSpPr>
        <p:spPr>
          <a:xfrm>
            <a:off x="576036" y="868052"/>
            <a:ext cx="11046283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2E90A51-B0FF-1342-85CA-08C29FDD3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0233" y="5839269"/>
            <a:ext cx="8644500" cy="754435"/>
          </a:xfrm>
          <a:prstGeom prst="rect">
            <a:avLst/>
          </a:prstGeom>
        </p:spPr>
        <p:txBody>
          <a:bodyPr l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</a:defRPr>
            </a:lvl1pPr>
            <a:lvl2pPr marL="342892" indent="0">
              <a:buNone/>
              <a:defRPr sz="600" i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783" indent="0">
              <a:buNone/>
              <a:defRPr sz="600" i="1"/>
            </a:lvl3pPr>
            <a:lvl4pPr marL="1028675" indent="0">
              <a:buNone/>
              <a:defRPr sz="600" i="1"/>
            </a:lvl4pPr>
            <a:lvl5pPr marL="1371566" indent="0">
              <a:buNone/>
              <a:defRPr sz="600" i="1"/>
            </a:lvl5pPr>
          </a:lstStyle>
          <a:p>
            <a:pPr lvl="0"/>
            <a:r>
              <a:rPr lang="en-US"/>
              <a:t>Place footnotes in this area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593666" y="6401432"/>
            <a:ext cx="11046283" cy="480725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marR="0" indent="0" algn="ctr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sz="1000" b="1"/>
            </a:lvl1pPr>
          </a:lstStyle>
          <a:p>
            <a:pPr marL="0" marR="0" lvl="0" indent="0" algn="l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For professional investors only</a:t>
            </a:r>
            <a:endParaRPr lang="en-GB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25AF3D32-F391-4EF5-AF02-19F52E643072}"/>
              </a:ext>
            </a:extLst>
          </p:cNvPr>
          <p:cNvSpPr/>
          <p:nvPr/>
        </p:nvSpPr>
        <p:spPr>
          <a:xfrm>
            <a:off x="11781773" y="5642303"/>
            <a:ext cx="420154" cy="12192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6ADD2FF-AC7D-4C1E-92FD-AD4898D1D3D2}"/>
              </a:ext>
            </a:extLst>
          </p:cNvPr>
          <p:cNvSpPr/>
          <p:nvPr/>
        </p:nvSpPr>
        <p:spPr>
          <a:xfrm>
            <a:off x="11840971" y="6429171"/>
            <a:ext cx="3675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478F02DA-AB65-4DE3-8C32-C1DFFF12922F}" type="slidenum">
              <a:rPr lang="nl-NL" sz="1200" b="1" i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1200" b="1">
              <a:solidFill>
                <a:schemeClr val="bg1"/>
              </a:solidFill>
            </a:endParaRPr>
          </a:p>
        </p:txBody>
      </p:sp>
      <p:pic>
        <p:nvPicPr>
          <p:cNvPr id="5" name="Picture 4" descr="A picture containing clipart&#10;&#10;Description automatically generated">
            <a:extLst>
              <a:ext uri="{FF2B5EF4-FFF2-40B4-BE49-F238E27FC236}">
                <a16:creationId xmlns:a16="http://schemas.microsoft.com/office/drawing/2014/main" id="{9BF71718-F13B-4E1E-8650-571AA5C1E5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5665" y="6200815"/>
            <a:ext cx="1404731" cy="408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0946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image and 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20"/>
          </p:nvPr>
        </p:nvSpPr>
        <p:spPr>
          <a:xfrm>
            <a:off x="5397197" y="1565964"/>
            <a:ext cx="6223711" cy="3970684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sz="1400"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CFE50724-9E4D-449F-A8DB-9B834D5B663C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576035" y="3648970"/>
            <a:ext cx="4591003" cy="18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B6C09126-3A90-495D-9767-1CE70B5D6B4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76035" y="1565964"/>
            <a:ext cx="4591003" cy="18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B95B8A2-8DCF-524B-AE94-0D60A2C482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302" y="955517"/>
            <a:ext cx="11045746" cy="40827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CFB2EED-04C3-904C-8E92-3C0237CE58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300" y="368300"/>
            <a:ext cx="11045750" cy="3600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algn="l">
              <a:lnSpc>
                <a:spcPct val="108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02CA1FF-D4A3-4E32-993A-B5BDCEB42C81}"/>
              </a:ext>
            </a:extLst>
          </p:cNvPr>
          <p:cNvCxnSpPr/>
          <p:nvPr/>
        </p:nvCxnSpPr>
        <p:spPr>
          <a:xfrm>
            <a:off x="576036" y="868052"/>
            <a:ext cx="11046283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2E90A51-B0FF-1342-85CA-08C29FDD3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0233" y="5839269"/>
            <a:ext cx="8644500" cy="754435"/>
          </a:xfrm>
          <a:prstGeom prst="rect">
            <a:avLst/>
          </a:prstGeom>
        </p:spPr>
        <p:txBody>
          <a:bodyPr l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</a:defRPr>
            </a:lvl1pPr>
            <a:lvl2pPr marL="342892" indent="0">
              <a:buNone/>
              <a:defRPr sz="600" i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783" indent="0">
              <a:buNone/>
              <a:defRPr sz="600" i="1"/>
            </a:lvl3pPr>
            <a:lvl4pPr marL="1028675" indent="0">
              <a:buNone/>
              <a:defRPr sz="600" i="1"/>
            </a:lvl4pPr>
            <a:lvl5pPr marL="1371566" indent="0">
              <a:buNone/>
              <a:defRPr sz="600" i="1"/>
            </a:lvl5pPr>
          </a:lstStyle>
          <a:p>
            <a:pPr lvl="0"/>
            <a:r>
              <a:rPr lang="en-US"/>
              <a:t>Place footnotes in this area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593666" y="6401432"/>
            <a:ext cx="11046283" cy="480725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marR="0" indent="0" algn="ctr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sz="1000" b="1"/>
            </a:lvl1pPr>
          </a:lstStyle>
          <a:p>
            <a:pPr marL="0" marR="0" lvl="0" indent="0" algn="l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For professional investors only</a:t>
            </a:r>
            <a:endParaRPr lang="en-GB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F9A45DED-12C6-4556-AED7-4487E291DD7F}"/>
              </a:ext>
            </a:extLst>
          </p:cNvPr>
          <p:cNvSpPr/>
          <p:nvPr/>
        </p:nvSpPr>
        <p:spPr>
          <a:xfrm>
            <a:off x="11781773" y="5642303"/>
            <a:ext cx="420154" cy="12192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CA731B-21DF-425E-A5F0-1B355DB76663}"/>
              </a:ext>
            </a:extLst>
          </p:cNvPr>
          <p:cNvSpPr/>
          <p:nvPr/>
        </p:nvSpPr>
        <p:spPr>
          <a:xfrm>
            <a:off x="11840971" y="6429171"/>
            <a:ext cx="3675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478F02DA-AB65-4DE3-8C32-C1DFFF12922F}" type="slidenum">
              <a:rPr lang="nl-NL" sz="1200" b="1" i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1200" b="1">
              <a:solidFill>
                <a:schemeClr val="bg1"/>
              </a:solidFill>
            </a:endParaRPr>
          </a:p>
        </p:txBody>
      </p:sp>
      <p:pic>
        <p:nvPicPr>
          <p:cNvPr id="5" name="Picture 4" descr="A picture containing clipart&#10;&#10;Description automatically generated">
            <a:extLst>
              <a:ext uri="{FF2B5EF4-FFF2-40B4-BE49-F238E27FC236}">
                <a16:creationId xmlns:a16="http://schemas.microsoft.com/office/drawing/2014/main" id="{300F32F3-B555-428C-AEBD-E8E68E48CF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5665" y="6200815"/>
            <a:ext cx="1404731" cy="408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1159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7B95B8A2-8DCF-524B-AE94-0D60A2C482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302" y="955517"/>
            <a:ext cx="11045746" cy="40827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CFB2EED-04C3-904C-8E92-3C0237CE58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300" y="368300"/>
            <a:ext cx="11045750" cy="3600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algn="l">
              <a:lnSpc>
                <a:spcPct val="108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593666" y="6401432"/>
            <a:ext cx="11046283" cy="480725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marR="0" indent="0" algn="ctr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sz="1000" b="1"/>
            </a:lvl1pPr>
          </a:lstStyle>
          <a:p>
            <a:pPr marL="0" marR="0" lvl="0" indent="0" algn="l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For professional investors only</a:t>
            </a:r>
            <a:endParaRPr lang="en-GB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179417F9-0A53-4521-A6B4-A656E99DE2CC}"/>
              </a:ext>
            </a:extLst>
          </p:cNvPr>
          <p:cNvSpPr/>
          <p:nvPr/>
        </p:nvSpPr>
        <p:spPr>
          <a:xfrm>
            <a:off x="11781773" y="5642303"/>
            <a:ext cx="420154" cy="12192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232B7C3-12AF-4D6C-924D-AA4FD3BAC3FC}"/>
              </a:ext>
            </a:extLst>
          </p:cNvPr>
          <p:cNvSpPr/>
          <p:nvPr/>
        </p:nvSpPr>
        <p:spPr>
          <a:xfrm>
            <a:off x="11840971" y="6429171"/>
            <a:ext cx="3675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478F02DA-AB65-4DE3-8C32-C1DFFF12922F}" type="slidenum">
              <a:rPr lang="nl-NL" sz="1200" b="1" i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1200" b="1">
              <a:solidFill>
                <a:schemeClr val="bg1"/>
              </a:solidFill>
            </a:endParaRPr>
          </a:p>
        </p:txBody>
      </p:sp>
      <p:pic>
        <p:nvPicPr>
          <p:cNvPr id="4" name="Picture 3" descr="A picture containing clipart&#10;&#10;Description automatically generated">
            <a:extLst>
              <a:ext uri="{FF2B5EF4-FFF2-40B4-BE49-F238E27FC236}">
                <a16:creationId xmlns:a16="http://schemas.microsoft.com/office/drawing/2014/main" id="{E7EBE28A-A665-4B00-A02D-1776443B39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5665" y="6200815"/>
            <a:ext cx="1404731" cy="408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0550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02CA1FF-D4A3-4E32-993A-B5BDCEB42C81}"/>
              </a:ext>
            </a:extLst>
          </p:cNvPr>
          <p:cNvCxnSpPr/>
          <p:nvPr/>
        </p:nvCxnSpPr>
        <p:spPr>
          <a:xfrm>
            <a:off x="576036" y="868052"/>
            <a:ext cx="11046283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593666" y="6401432"/>
            <a:ext cx="11046283" cy="480725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marR="0" indent="0" algn="ctr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sz="1000" b="1"/>
            </a:lvl1pPr>
          </a:lstStyle>
          <a:p>
            <a:pPr marL="0" marR="0" lvl="0" indent="0" algn="l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For professional investors only</a:t>
            </a:r>
            <a:endParaRPr lang="en-GB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6D1B1241-2629-4DC2-AEDD-A5F2BD20EF88}"/>
              </a:ext>
            </a:extLst>
          </p:cNvPr>
          <p:cNvSpPr/>
          <p:nvPr/>
        </p:nvSpPr>
        <p:spPr>
          <a:xfrm>
            <a:off x="11781773" y="5642303"/>
            <a:ext cx="420154" cy="12192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F6AAA7-186C-4159-A55E-587A2DA0BF11}"/>
              </a:ext>
            </a:extLst>
          </p:cNvPr>
          <p:cNvSpPr/>
          <p:nvPr/>
        </p:nvSpPr>
        <p:spPr>
          <a:xfrm>
            <a:off x="11840971" y="6429171"/>
            <a:ext cx="3675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478F02DA-AB65-4DE3-8C32-C1DFFF12922F}" type="slidenum">
              <a:rPr lang="nl-NL" sz="1200" b="1" i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1200" b="1">
              <a:solidFill>
                <a:schemeClr val="bg1"/>
              </a:solidFill>
            </a:endParaRPr>
          </a:p>
        </p:txBody>
      </p:sp>
      <p:pic>
        <p:nvPicPr>
          <p:cNvPr id="4" name="Picture 3" descr="A picture containing clipart&#10;&#10;Description automatically generated">
            <a:extLst>
              <a:ext uri="{FF2B5EF4-FFF2-40B4-BE49-F238E27FC236}">
                <a16:creationId xmlns:a16="http://schemas.microsoft.com/office/drawing/2014/main" id="{4E67F9B2-96AA-4617-9588-C1D974DD9C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5665" y="6200815"/>
            <a:ext cx="1404731" cy="408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7448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C007E-0D1D-4CBE-98F7-01325AE1A552}" type="datetime3">
              <a:rPr lang="en-US" smtClean="0"/>
              <a:t>5 October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379389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593666" y="6401432"/>
            <a:ext cx="11046283" cy="480725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marR="0" indent="0" algn="ctr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sz="1000" b="1"/>
            </a:lvl1pPr>
          </a:lstStyle>
          <a:p>
            <a:pPr marL="0" marR="0" lvl="0" indent="0" algn="l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For professional investors only</a:t>
            </a:r>
            <a:endParaRPr lang="en-GB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120613B4-5379-4006-ACAC-FF3404B33EA4}"/>
              </a:ext>
            </a:extLst>
          </p:cNvPr>
          <p:cNvSpPr/>
          <p:nvPr/>
        </p:nvSpPr>
        <p:spPr>
          <a:xfrm>
            <a:off x="11781773" y="5642303"/>
            <a:ext cx="420154" cy="12192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1A8D36B-4D9D-449F-80CD-6BE48FC20746}"/>
              </a:ext>
            </a:extLst>
          </p:cNvPr>
          <p:cNvSpPr/>
          <p:nvPr/>
        </p:nvSpPr>
        <p:spPr>
          <a:xfrm>
            <a:off x="11840971" y="6429171"/>
            <a:ext cx="3675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478F02DA-AB65-4DE3-8C32-C1DFFF12922F}" type="slidenum">
              <a:rPr lang="nl-NL" sz="1200" b="1" i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1200" b="1">
              <a:solidFill>
                <a:schemeClr val="bg1"/>
              </a:solidFill>
            </a:endParaRPr>
          </a:p>
        </p:txBody>
      </p:sp>
      <p:pic>
        <p:nvPicPr>
          <p:cNvPr id="4" name="Picture 3" descr="A picture containing clipart&#10;&#10;Description automatically generated">
            <a:extLst>
              <a:ext uri="{FF2B5EF4-FFF2-40B4-BE49-F238E27FC236}">
                <a16:creationId xmlns:a16="http://schemas.microsoft.com/office/drawing/2014/main" id="{1EC7A2AB-09F8-41E5-95B0-7583427BF8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5665" y="6200815"/>
            <a:ext cx="1404731" cy="408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3266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76034" y="1363795"/>
            <a:ext cx="11063915" cy="48258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/>
            </a:lvl1pPr>
            <a:lvl2pPr marL="0" indent="0">
              <a:buNone/>
              <a:defRPr sz="900"/>
            </a:lvl2pPr>
            <a:lvl3pPr marL="371475" indent="0">
              <a:buNone/>
              <a:defRPr/>
            </a:lvl3pPr>
            <a:lvl4pPr marL="1028674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7B95B8A2-8DCF-524B-AE94-0D60A2C482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302" y="955521"/>
            <a:ext cx="11045746" cy="268525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CCFB2EED-04C3-904C-8E92-3C0237CE58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300" y="368300"/>
            <a:ext cx="11045750" cy="3600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algn="l">
              <a:lnSpc>
                <a:spcPct val="108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02CA1FF-D4A3-4E32-993A-B5BDCEB42C81}"/>
              </a:ext>
            </a:extLst>
          </p:cNvPr>
          <p:cNvCxnSpPr/>
          <p:nvPr/>
        </p:nvCxnSpPr>
        <p:spPr>
          <a:xfrm>
            <a:off x="576036" y="868052"/>
            <a:ext cx="11046283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2E90A51-B0FF-1342-85CA-08C29FDD3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0233" y="6197315"/>
            <a:ext cx="8644500" cy="396389"/>
          </a:xfrm>
          <a:prstGeom prst="rect">
            <a:avLst/>
          </a:prstGeom>
        </p:spPr>
        <p:txBody>
          <a:bodyPr l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</a:defRPr>
            </a:lvl1pPr>
            <a:lvl2pPr marL="342892" indent="0">
              <a:buNone/>
              <a:defRPr sz="600" i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783" indent="0">
              <a:buNone/>
              <a:defRPr sz="600" i="1"/>
            </a:lvl3pPr>
            <a:lvl4pPr marL="1028675" indent="0">
              <a:buNone/>
              <a:defRPr sz="600" i="1"/>
            </a:lvl4pPr>
            <a:lvl5pPr marL="1371566" indent="0">
              <a:buNone/>
              <a:defRPr sz="600" i="1"/>
            </a:lvl5pPr>
          </a:lstStyle>
          <a:p>
            <a:pPr lvl="0"/>
            <a:r>
              <a:rPr lang="en-US"/>
              <a:t>Place footnotes in this area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593666" y="6401432"/>
            <a:ext cx="11046283" cy="480725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marR="0" indent="0" algn="ctr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sz="1000" b="1"/>
            </a:lvl1pPr>
          </a:lstStyle>
          <a:p>
            <a:pPr marL="0" marR="0" lvl="0" indent="0" algn="l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For professional investors only</a:t>
            </a:r>
            <a:endParaRPr lang="en-GB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B0C8BCA0-F792-43F9-BB14-CFC19A2035A2}"/>
              </a:ext>
            </a:extLst>
          </p:cNvPr>
          <p:cNvSpPr/>
          <p:nvPr/>
        </p:nvSpPr>
        <p:spPr>
          <a:xfrm>
            <a:off x="11781773" y="5642303"/>
            <a:ext cx="420154" cy="12192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EDE232-C2FD-425E-9B78-F546FE8F3444}"/>
              </a:ext>
            </a:extLst>
          </p:cNvPr>
          <p:cNvSpPr/>
          <p:nvPr/>
        </p:nvSpPr>
        <p:spPr>
          <a:xfrm>
            <a:off x="11840971" y="6429171"/>
            <a:ext cx="3675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478F02DA-AB65-4DE3-8C32-C1DFFF12922F}" type="slidenum">
              <a:rPr lang="nl-NL" sz="1200" b="1" i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1200" b="1">
              <a:solidFill>
                <a:schemeClr val="bg1"/>
              </a:solidFill>
            </a:endParaRPr>
          </a:p>
        </p:txBody>
      </p:sp>
      <p:pic>
        <p:nvPicPr>
          <p:cNvPr id="5" name="Picture 4" descr="A picture containing clipart&#10;&#10;Description automatically generated">
            <a:extLst>
              <a:ext uri="{FF2B5EF4-FFF2-40B4-BE49-F238E27FC236}">
                <a16:creationId xmlns:a16="http://schemas.microsoft.com/office/drawing/2014/main" id="{F81B64EB-473B-47D9-84EB-CD58326787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5665" y="6200815"/>
            <a:ext cx="1404731" cy="408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68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78806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97D29D3-1F6D-4D78-ACC9-E8EE2043DA3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812543" y="858"/>
            <a:ext cx="6390628" cy="6857143"/>
          </a:xfrm>
          <a:prstGeom prst="rect">
            <a:avLst/>
          </a:prstGeom>
        </p:spPr>
      </p:pic>
      <p:pic>
        <p:nvPicPr>
          <p:cNvPr id="9" name="Picture 8" descr="A picture containing clipart&#10;&#10;Description automatically generated">
            <a:extLst>
              <a:ext uri="{FF2B5EF4-FFF2-40B4-BE49-F238E27FC236}">
                <a16:creationId xmlns:a16="http://schemas.microsoft.com/office/drawing/2014/main" id="{88C8ED69-ACD6-4FD7-B860-20E2ED587A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025" y="416324"/>
            <a:ext cx="1982232" cy="576072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367BD2F3-E06C-4018-AFE8-E7AC724DD4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2025" y="1251517"/>
            <a:ext cx="5375450" cy="533410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lIns="0" tIns="0" rIns="0" bIns="0" anchor="t" anchorCtr="0"/>
          <a:lstStyle>
            <a:lvl1pPr algn="l">
              <a:lnSpc>
                <a:spcPct val="108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5A8AE8CD-7DFF-4FE4-A534-E03844CB9B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25" y="2250797"/>
            <a:ext cx="5375450" cy="156321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Name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F79C5F3-8C8C-44BC-BC2E-2879A020BE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25" y="3951291"/>
            <a:ext cx="5025412" cy="2026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1ADF10CA-D2B0-43F4-A212-8A10F47F6D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2025" y="5397911"/>
            <a:ext cx="4142356" cy="119973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buNone/>
              <a:defRPr sz="8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disclaimer</a:t>
            </a:r>
          </a:p>
          <a:p>
            <a:pPr lvl="0"/>
            <a:r>
              <a:rPr lang="en-US"/>
              <a:t>For professional investors only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630C214B-48FE-4984-95D0-44FA292454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2025" y="1862339"/>
            <a:ext cx="5375450" cy="3884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en-GB"/>
              <a:t>Click to edit sub-headin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835FD4D-CEDD-4856-AB48-BBA58F19AB5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385173" y="6021616"/>
            <a:ext cx="1245371" cy="576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37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835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D1603B-A0E8-4C3C-87A2-91A8380A821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812543" y="858"/>
            <a:ext cx="6390628" cy="685714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AC6548F-58FC-405F-9AE5-E3C470D4C38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25" y="416325"/>
            <a:ext cx="1982232" cy="576071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1D935112-AC89-4130-96B3-B20AB9363C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2025" y="1321185"/>
            <a:ext cx="5375450" cy="533410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lIns="0" tIns="0" rIns="0" bIns="0" anchor="t" anchorCtr="0"/>
          <a:lstStyle>
            <a:lvl1pPr algn="l">
              <a:lnSpc>
                <a:spcPct val="108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3C95059E-F7D9-4AED-A393-108A9D818F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25" y="2250797"/>
            <a:ext cx="5375450" cy="156321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Name</a:t>
            </a:r>
            <a:endParaRPr lang="en-GB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8B6382F7-C0F3-4860-AD60-8EF682FC79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25" y="3951291"/>
            <a:ext cx="5025412" cy="2026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8EBD216-39A4-4C9C-B93E-40341CA0492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2025" y="5397911"/>
            <a:ext cx="4142356" cy="119973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disclaimer</a:t>
            </a:r>
          </a:p>
          <a:p>
            <a:pPr lvl="0"/>
            <a:r>
              <a:rPr lang="en-US"/>
              <a:t>For professional investors only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C3571F2-6CFF-4A3C-B17E-4A09A6D280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2025" y="1862339"/>
            <a:ext cx="5375450" cy="3884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-head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B712E3C-5530-4A84-B4F9-23E53AB5EDA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385173" y="6021616"/>
            <a:ext cx="1245371" cy="576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511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Vrije vorm: vorm 14">
            <a:extLst>
              <a:ext uri="{FF2B5EF4-FFF2-40B4-BE49-F238E27FC236}">
                <a16:creationId xmlns:a16="http://schemas.microsoft.com/office/drawing/2014/main" id="{FC889D77-5D9F-264E-B047-7E3D9643D32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-69011"/>
            <a:ext cx="6464518" cy="6963981"/>
          </a:xfrm>
          <a:custGeom>
            <a:avLst/>
            <a:gdLst>
              <a:gd name="connsiteX0" fmla="*/ 2318085 w 12201525"/>
              <a:gd name="connsiteY0" fmla="*/ 0 h 6880686"/>
              <a:gd name="connsiteX1" fmla="*/ 12201525 w 12201525"/>
              <a:gd name="connsiteY1" fmla="*/ 463 h 6880686"/>
              <a:gd name="connsiteX2" fmla="*/ 12198810 w 12201525"/>
              <a:gd name="connsiteY2" fmla="*/ 1875299 h 6880686"/>
              <a:gd name="connsiteX3" fmla="*/ 12201525 w 12201525"/>
              <a:gd name="connsiteY3" fmla="*/ 1875299 h 6880686"/>
              <a:gd name="connsiteX4" fmla="*/ 12201525 w 12201525"/>
              <a:gd name="connsiteY4" fmla="*/ 6344112 h 6880686"/>
              <a:gd name="connsiteX5" fmla="*/ 12199508 w 12201525"/>
              <a:gd name="connsiteY5" fmla="*/ 6344112 h 6880686"/>
              <a:gd name="connsiteX6" fmla="*/ 12201525 w 12201525"/>
              <a:gd name="connsiteY6" fmla="*/ 6880686 h 6880686"/>
              <a:gd name="connsiteX7" fmla="*/ 0 w 12201525"/>
              <a:gd name="connsiteY7" fmla="*/ 6880686 h 6880686"/>
              <a:gd name="connsiteX8" fmla="*/ 11673 w 12201525"/>
              <a:gd name="connsiteY8" fmla="*/ 6841306 h 6880686"/>
              <a:gd name="connsiteX9" fmla="*/ 1308276 w 12201525"/>
              <a:gd name="connsiteY9" fmla="*/ 2995309 h 6880686"/>
              <a:gd name="connsiteX10" fmla="*/ 1457809 w 12201525"/>
              <a:gd name="connsiteY10" fmla="*/ 2580257 h 6880686"/>
              <a:gd name="connsiteX11" fmla="*/ 2040932 w 12201525"/>
              <a:gd name="connsiteY11" fmla="*/ 860085 h 6880686"/>
              <a:gd name="connsiteX12" fmla="*/ 2134197 w 12201525"/>
              <a:gd name="connsiteY12" fmla="*/ 545453 h 6880686"/>
              <a:gd name="connsiteX0" fmla="*/ 2306412 w 12189852"/>
              <a:gd name="connsiteY0" fmla="*/ 0 h 6880686"/>
              <a:gd name="connsiteX1" fmla="*/ 12189852 w 12189852"/>
              <a:gd name="connsiteY1" fmla="*/ 463 h 6880686"/>
              <a:gd name="connsiteX2" fmla="*/ 12187137 w 12189852"/>
              <a:gd name="connsiteY2" fmla="*/ 1875299 h 6880686"/>
              <a:gd name="connsiteX3" fmla="*/ 12189852 w 12189852"/>
              <a:gd name="connsiteY3" fmla="*/ 1875299 h 6880686"/>
              <a:gd name="connsiteX4" fmla="*/ 12189852 w 12189852"/>
              <a:gd name="connsiteY4" fmla="*/ 6344112 h 6880686"/>
              <a:gd name="connsiteX5" fmla="*/ 12187835 w 12189852"/>
              <a:gd name="connsiteY5" fmla="*/ 6344112 h 6880686"/>
              <a:gd name="connsiteX6" fmla="*/ 12189852 w 12189852"/>
              <a:gd name="connsiteY6" fmla="*/ 6880686 h 6880686"/>
              <a:gd name="connsiteX7" fmla="*/ 0 w 12189852"/>
              <a:gd name="connsiteY7" fmla="*/ 6841306 h 6880686"/>
              <a:gd name="connsiteX8" fmla="*/ 1296603 w 12189852"/>
              <a:gd name="connsiteY8" fmla="*/ 2995309 h 6880686"/>
              <a:gd name="connsiteX9" fmla="*/ 1446136 w 12189852"/>
              <a:gd name="connsiteY9" fmla="*/ 2580257 h 6880686"/>
              <a:gd name="connsiteX10" fmla="*/ 2029259 w 12189852"/>
              <a:gd name="connsiteY10" fmla="*/ 860085 h 6880686"/>
              <a:gd name="connsiteX11" fmla="*/ 2122524 w 12189852"/>
              <a:gd name="connsiteY11" fmla="*/ 545453 h 6880686"/>
              <a:gd name="connsiteX12" fmla="*/ 2306412 w 12189852"/>
              <a:gd name="connsiteY12" fmla="*/ 0 h 6880686"/>
              <a:gd name="connsiteX0" fmla="*/ 2306412 w 12189852"/>
              <a:gd name="connsiteY0" fmla="*/ 0 h 6880686"/>
              <a:gd name="connsiteX1" fmla="*/ 12189852 w 12189852"/>
              <a:gd name="connsiteY1" fmla="*/ 463 h 6880686"/>
              <a:gd name="connsiteX2" fmla="*/ 12187137 w 12189852"/>
              <a:gd name="connsiteY2" fmla="*/ 1875299 h 6880686"/>
              <a:gd name="connsiteX3" fmla="*/ 12189852 w 12189852"/>
              <a:gd name="connsiteY3" fmla="*/ 1875299 h 6880686"/>
              <a:gd name="connsiteX4" fmla="*/ 12189852 w 12189852"/>
              <a:gd name="connsiteY4" fmla="*/ 6344112 h 6880686"/>
              <a:gd name="connsiteX5" fmla="*/ 12187835 w 12189852"/>
              <a:gd name="connsiteY5" fmla="*/ 6344112 h 6880686"/>
              <a:gd name="connsiteX6" fmla="*/ 12189852 w 12189852"/>
              <a:gd name="connsiteY6" fmla="*/ 6880686 h 6880686"/>
              <a:gd name="connsiteX7" fmla="*/ 0 w 12189852"/>
              <a:gd name="connsiteY7" fmla="*/ 6841306 h 6880686"/>
              <a:gd name="connsiteX8" fmla="*/ 1446136 w 12189852"/>
              <a:gd name="connsiteY8" fmla="*/ 2580257 h 6880686"/>
              <a:gd name="connsiteX9" fmla="*/ 2029259 w 12189852"/>
              <a:gd name="connsiteY9" fmla="*/ 860085 h 6880686"/>
              <a:gd name="connsiteX10" fmla="*/ 2122524 w 12189852"/>
              <a:gd name="connsiteY10" fmla="*/ 545453 h 6880686"/>
              <a:gd name="connsiteX11" fmla="*/ 2306412 w 12189852"/>
              <a:gd name="connsiteY11" fmla="*/ 0 h 6880686"/>
              <a:gd name="connsiteX0" fmla="*/ 2306412 w 12189852"/>
              <a:gd name="connsiteY0" fmla="*/ 0 h 6880686"/>
              <a:gd name="connsiteX1" fmla="*/ 12189852 w 12189852"/>
              <a:gd name="connsiteY1" fmla="*/ 463 h 6880686"/>
              <a:gd name="connsiteX2" fmla="*/ 12187137 w 12189852"/>
              <a:gd name="connsiteY2" fmla="*/ 1875299 h 6880686"/>
              <a:gd name="connsiteX3" fmla="*/ 12189852 w 12189852"/>
              <a:gd name="connsiteY3" fmla="*/ 1875299 h 6880686"/>
              <a:gd name="connsiteX4" fmla="*/ 12189852 w 12189852"/>
              <a:gd name="connsiteY4" fmla="*/ 6344112 h 6880686"/>
              <a:gd name="connsiteX5" fmla="*/ 12187835 w 12189852"/>
              <a:gd name="connsiteY5" fmla="*/ 6344112 h 6880686"/>
              <a:gd name="connsiteX6" fmla="*/ 12189852 w 12189852"/>
              <a:gd name="connsiteY6" fmla="*/ 6880686 h 6880686"/>
              <a:gd name="connsiteX7" fmla="*/ 0 w 12189852"/>
              <a:gd name="connsiteY7" fmla="*/ 6841306 h 6880686"/>
              <a:gd name="connsiteX8" fmla="*/ 2029259 w 12189852"/>
              <a:gd name="connsiteY8" fmla="*/ 860085 h 6880686"/>
              <a:gd name="connsiteX9" fmla="*/ 2122524 w 12189852"/>
              <a:gd name="connsiteY9" fmla="*/ 545453 h 6880686"/>
              <a:gd name="connsiteX10" fmla="*/ 2306412 w 12189852"/>
              <a:gd name="connsiteY10" fmla="*/ 0 h 6880686"/>
              <a:gd name="connsiteX0" fmla="*/ 2306412 w 12189852"/>
              <a:gd name="connsiteY0" fmla="*/ 0 h 6880686"/>
              <a:gd name="connsiteX1" fmla="*/ 12189852 w 12189852"/>
              <a:gd name="connsiteY1" fmla="*/ 463 h 6880686"/>
              <a:gd name="connsiteX2" fmla="*/ 12187137 w 12189852"/>
              <a:gd name="connsiteY2" fmla="*/ 1875299 h 6880686"/>
              <a:gd name="connsiteX3" fmla="*/ 12189852 w 12189852"/>
              <a:gd name="connsiteY3" fmla="*/ 1875299 h 6880686"/>
              <a:gd name="connsiteX4" fmla="*/ 12189852 w 12189852"/>
              <a:gd name="connsiteY4" fmla="*/ 6344112 h 6880686"/>
              <a:gd name="connsiteX5" fmla="*/ 12187835 w 12189852"/>
              <a:gd name="connsiteY5" fmla="*/ 6344112 h 6880686"/>
              <a:gd name="connsiteX6" fmla="*/ 12189852 w 12189852"/>
              <a:gd name="connsiteY6" fmla="*/ 6880686 h 6880686"/>
              <a:gd name="connsiteX7" fmla="*/ 0 w 12189852"/>
              <a:gd name="connsiteY7" fmla="*/ 6841306 h 6880686"/>
              <a:gd name="connsiteX8" fmla="*/ 2122524 w 12189852"/>
              <a:gd name="connsiteY8" fmla="*/ 545453 h 6880686"/>
              <a:gd name="connsiteX9" fmla="*/ 2306412 w 12189852"/>
              <a:gd name="connsiteY9" fmla="*/ 0 h 6880686"/>
              <a:gd name="connsiteX0" fmla="*/ 2306412 w 12189852"/>
              <a:gd name="connsiteY0" fmla="*/ 0 h 6880686"/>
              <a:gd name="connsiteX1" fmla="*/ 12189852 w 12189852"/>
              <a:gd name="connsiteY1" fmla="*/ 463 h 6880686"/>
              <a:gd name="connsiteX2" fmla="*/ 12187137 w 12189852"/>
              <a:gd name="connsiteY2" fmla="*/ 1875299 h 6880686"/>
              <a:gd name="connsiteX3" fmla="*/ 12189852 w 12189852"/>
              <a:gd name="connsiteY3" fmla="*/ 1875299 h 6880686"/>
              <a:gd name="connsiteX4" fmla="*/ 12189852 w 12189852"/>
              <a:gd name="connsiteY4" fmla="*/ 6344112 h 6880686"/>
              <a:gd name="connsiteX5" fmla="*/ 12187835 w 12189852"/>
              <a:gd name="connsiteY5" fmla="*/ 6344112 h 6880686"/>
              <a:gd name="connsiteX6" fmla="*/ 12189852 w 12189852"/>
              <a:gd name="connsiteY6" fmla="*/ 6880686 h 6880686"/>
              <a:gd name="connsiteX7" fmla="*/ 0 w 12189852"/>
              <a:gd name="connsiteY7" fmla="*/ 6841306 h 6880686"/>
              <a:gd name="connsiteX8" fmla="*/ 2306412 w 12189852"/>
              <a:gd name="connsiteY8" fmla="*/ 0 h 6880686"/>
              <a:gd name="connsiteX0" fmla="*/ 0 w 9883440"/>
              <a:gd name="connsiteY0" fmla="*/ 0 h 6880686"/>
              <a:gd name="connsiteX1" fmla="*/ 9883440 w 9883440"/>
              <a:gd name="connsiteY1" fmla="*/ 463 h 6880686"/>
              <a:gd name="connsiteX2" fmla="*/ 9880725 w 9883440"/>
              <a:gd name="connsiteY2" fmla="*/ 1875299 h 6880686"/>
              <a:gd name="connsiteX3" fmla="*/ 9883440 w 9883440"/>
              <a:gd name="connsiteY3" fmla="*/ 1875299 h 6880686"/>
              <a:gd name="connsiteX4" fmla="*/ 9883440 w 9883440"/>
              <a:gd name="connsiteY4" fmla="*/ 6344112 h 6880686"/>
              <a:gd name="connsiteX5" fmla="*/ 9881423 w 9883440"/>
              <a:gd name="connsiteY5" fmla="*/ 6344112 h 6880686"/>
              <a:gd name="connsiteX6" fmla="*/ 9883440 w 9883440"/>
              <a:gd name="connsiteY6" fmla="*/ 6880686 h 6880686"/>
              <a:gd name="connsiteX7" fmla="*/ 12627 w 9883440"/>
              <a:gd name="connsiteY7" fmla="*/ 6858358 h 6880686"/>
              <a:gd name="connsiteX8" fmla="*/ 0 w 9883440"/>
              <a:gd name="connsiteY8" fmla="*/ 0 h 6880686"/>
              <a:gd name="connsiteX0" fmla="*/ 0 w 9883440"/>
              <a:gd name="connsiteY0" fmla="*/ 0 h 6880686"/>
              <a:gd name="connsiteX1" fmla="*/ 9883440 w 9883440"/>
              <a:gd name="connsiteY1" fmla="*/ 463 h 6880686"/>
              <a:gd name="connsiteX2" fmla="*/ 9880725 w 9883440"/>
              <a:gd name="connsiteY2" fmla="*/ 1875299 h 6880686"/>
              <a:gd name="connsiteX3" fmla="*/ 9883440 w 9883440"/>
              <a:gd name="connsiteY3" fmla="*/ 1875299 h 6880686"/>
              <a:gd name="connsiteX4" fmla="*/ 9883440 w 9883440"/>
              <a:gd name="connsiteY4" fmla="*/ 6344112 h 6880686"/>
              <a:gd name="connsiteX5" fmla="*/ 9881423 w 9883440"/>
              <a:gd name="connsiteY5" fmla="*/ 6344112 h 6880686"/>
              <a:gd name="connsiteX6" fmla="*/ 9883440 w 9883440"/>
              <a:gd name="connsiteY6" fmla="*/ 6880686 h 6880686"/>
              <a:gd name="connsiteX7" fmla="*/ 4101 w 9883440"/>
              <a:gd name="connsiteY7" fmla="*/ 6875410 h 6880686"/>
              <a:gd name="connsiteX8" fmla="*/ 0 w 9883440"/>
              <a:gd name="connsiteY8" fmla="*/ 0 h 6880686"/>
              <a:gd name="connsiteX0" fmla="*/ 0 w 9883440"/>
              <a:gd name="connsiteY0" fmla="*/ 0 h 6880686"/>
              <a:gd name="connsiteX1" fmla="*/ 9883440 w 9883440"/>
              <a:gd name="connsiteY1" fmla="*/ 463 h 6880686"/>
              <a:gd name="connsiteX2" fmla="*/ 9880725 w 9883440"/>
              <a:gd name="connsiteY2" fmla="*/ 1875299 h 6880686"/>
              <a:gd name="connsiteX3" fmla="*/ 9883440 w 9883440"/>
              <a:gd name="connsiteY3" fmla="*/ 6344112 h 6880686"/>
              <a:gd name="connsiteX4" fmla="*/ 9881423 w 9883440"/>
              <a:gd name="connsiteY4" fmla="*/ 6344112 h 6880686"/>
              <a:gd name="connsiteX5" fmla="*/ 9883440 w 9883440"/>
              <a:gd name="connsiteY5" fmla="*/ 6880686 h 6880686"/>
              <a:gd name="connsiteX6" fmla="*/ 4101 w 9883440"/>
              <a:gd name="connsiteY6" fmla="*/ 6875410 h 6880686"/>
              <a:gd name="connsiteX7" fmla="*/ 0 w 9883440"/>
              <a:gd name="connsiteY7" fmla="*/ 0 h 6880686"/>
              <a:gd name="connsiteX0" fmla="*/ 0 w 10615621"/>
              <a:gd name="connsiteY0" fmla="*/ 0 h 6880686"/>
              <a:gd name="connsiteX1" fmla="*/ 9883440 w 10615621"/>
              <a:gd name="connsiteY1" fmla="*/ 463 h 6880686"/>
              <a:gd name="connsiteX2" fmla="*/ 9883440 w 10615621"/>
              <a:gd name="connsiteY2" fmla="*/ 6344112 h 6880686"/>
              <a:gd name="connsiteX3" fmla="*/ 9881423 w 10615621"/>
              <a:gd name="connsiteY3" fmla="*/ 6344112 h 6880686"/>
              <a:gd name="connsiteX4" fmla="*/ 9883440 w 10615621"/>
              <a:gd name="connsiteY4" fmla="*/ 6880686 h 6880686"/>
              <a:gd name="connsiteX5" fmla="*/ 4101 w 10615621"/>
              <a:gd name="connsiteY5" fmla="*/ 6875410 h 6880686"/>
              <a:gd name="connsiteX6" fmla="*/ 0 w 10615621"/>
              <a:gd name="connsiteY6" fmla="*/ 0 h 6880686"/>
              <a:gd name="connsiteX0" fmla="*/ 0 w 12193184"/>
              <a:gd name="connsiteY0" fmla="*/ 0 h 6880686"/>
              <a:gd name="connsiteX1" fmla="*/ 11754051 w 12193184"/>
              <a:gd name="connsiteY1" fmla="*/ 463 h 6880686"/>
              <a:gd name="connsiteX2" fmla="*/ 9883440 w 12193184"/>
              <a:gd name="connsiteY2" fmla="*/ 6344112 h 6880686"/>
              <a:gd name="connsiteX3" fmla="*/ 9881423 w 12193184"/>
              <a:gd name="connsiteY3" fmla="*/ 6344112 h 6880686"/>
              <a:gd name="connsiteX4" fmla="*/ 9883440 w 12193184"/>
              <a:gd name="connsiteY4" fmla="*/ 6880686 h 6880686"/>
              <a:gd name="connsiteX5" fmla="*/ 4101 w 12193184"/>
              <a:gd name="connsiteY5" fmla="*/ 6875410 h 6880686"/>
              <a:gd name="connsiteX6" fmla="*/ 0 w 12193184"/>
              <a:gd name="connsiteY6" fmla="*/ 0 h 6880686"/>
              <a:gd name="connsiteX0" fmla="*/ 0 w 11754056"/>
              <a:gd name="connsiteY0" fmla="*/ 0 h 6880686"/>
              <a:gd name="connsiteX1" fmla="*/ 11754051 w 11754056"/>
              <a:gd name="connsiteY1" fmla="*/ 463 h 6880686"/>
              <a:gd name="connsiteX2" fmla="*/ 9883440 w 11754056"/>
              <a:gd name="connsiteY2" fmla="*/ 6344112 h 6880686"/>
              <a:gd name="connsiteX3" fmla="*/ 9881423 w 11754056"/>
              <a:gd name="connsiteY3" fmla="*/ 6344112 h 6880686"/>
              <a:gd name="connsiteX4" fmla="*/ 9883440 w 11754056"/>
              <a:gd name="connsiteY4" fmla="*/ 6880686 h 6880686"/>
              <a:gd name="connsiteX5" fmla="*/ 4101 w 11754056"/>
              <a:gd name="connsiteY5" fmla="*/ 6875410 h 6880686"/>
              <a:gd name="connsiteX6" fmla="*/ 0 w 11754056"/>
              <a:gd name="connsiteY6" fmla="*/ 0 h 6880686"/>
              <a:gd name="connsiteX0" fmla="*/ 0 w 11754056"/>
              <a:gd name="connsiteY0" fmla="*/ 0 h 6880686"/>
              <a:gd name="connsiteX1" fmla="*/ 11754051 w 11754056"/>
              <a:gd name="connsiteY1" fmla="*/ 463 h 6880686"/>
              <a:gd name="connsiteX2" fmla="*/ 9883440 w 11754056"/>
              <a:gd name="connsiteY2" fmla="*/ 6344112 h 6880686"/>
              <a:gd name="connsiteX3" fmla="*/ 9881423 w 11754056"/>
              <a:gd name="connsiteY3" fmla="*/ 6344112 h 6880686"/>
              <a:gd name="connsiteX4" fmla="*/ 7417636 w 11754056"/>
              <a:gd name="connsiteY4" fmla="*/ 6880686 h 6880686"/>
              <a:gd name="connsiteX5" fmla="*/ 4101 w 11754056"/>
              <a:gd name="connsiteY5" fmla="*/ 6875410 h 6880686"/>
              <a:gd name="connsiteX6" fmla="*/ 0 w 11754056"/>
              <a:gd name="connsiteY6" fmla="*/ 0 h 6880686"/>
              <a:gd name="connsiteX0" fmla="*/ 0 w 11754056"/>
              <a:gd name="connsiteY0" fmla="*/ 0 h 6880686"/>
              <a:gd name="connsiteX1" fmla="*/ 11754051 w 11754056"/>
              <a:gd name="connsiteY1" fmla="*/ 463 h 6880686"/>
              <a:gd name="connsiteX2" fmla="*/ 9883440 w 11754056"/>
              <a:gd name="connsiteY2" fmla="*/ 6344112 h 6880686"/>
              <a:gd name="connsiteX3" fmla="*/ 9881423 w 11754056"/>
              <a:gd name="connsiteY3" fmla="*/ 6344112 h 6880686"/>
              <a:gd name="connsiteX4" fmla="*/ 8352941 w 11754056"/>
              <a:gd name="connsiteY4" fmla="*/ 6880686 h 6880686"/>
              <a:gd name="connsiteX5" fmla="*/ 4101 w 11754056"/>
              <a:gd name="connsiteY5" fmla="*/ 6875410 h 6880686"/>
              <a:gd name="connsiteX6" fmla="*/ 0 w 11754056"/>
              <a:gd name="connsiteY6" fmla="*/ 0 h 6880686"/>
              <a:gd name="connsiteX0" fmla="*/ 0 w 11754056"/>
              <a:gd name="connsiteY0" fmla="*/ 0 h 6880694"/>
              <a:gd name="connsiteX1" fmla="*/ 11754051 w 11754056"/>
              <a:gd name="connsiteY1" fmla="*/ 463 h 6880694"/>
              <a:gd name="connsiteX2" fmla="*/ 9883440 w 11754056"/>
              <a:gd name="connsiteY2" fmla="*/ 6344112 h 6880694"/>
              <a:gd name="connsiteX3" fmla="*/ 9881423 w 11754056"/>
              <a:gd name="connsiteY3" fmla="*/ 6344112 h 6880694"/>
              <a:gd name="connsiteX4" fmla="*/ 8352941 w 11754056"/>
              <a:gd name="connsiteY4" fmla="*/ 6880686 h 6880694"/>
              <a:gd name="connsiteX5" fmla="*/ 4101 w 11754056"/>
              <a:gd name="connsiteY5" fmla="*/ 6875410 h 6880694"/>
              <a:gd name="connsiteX6" fmla="*/ 0 w 11754056"/>
              <a:gd name="connsiteY6" fmla="*/ 0 h 6880694"/>
              <a:gd name="connsiteX0" fmla="*/ 0 w 11754056"/>
              <a:gd name="connsiteY0" fmla="*/ 0 h 6880686"/>
              <a:gd name="connsiteX1" fmla="*/ 11754051 w 11754056"/>
              <a:gd name="connsiteY1" fmla="*/ 463 h 6880686"/>
              <a:gd name="connsiteX2" fmla="*/ 9883440 w 11754056"/>
              <a:gd name="connsiteY2" fmla="*/ 6344112 h 6880686"/>
              <a:gd name="connsiteX3" fmla="*/ 8352941 w 11754056"/>
              <a:gd name="connsiteY3" fmla="*/ 6880686 h 6880686"/>
              <a:gd name="connsiteX4" fmla="*/ 4101 w 11754056"/>
              <a:gd name="connsiteY4" fmla="*/ 6875410 h 6880686"/>
              <a:gd name="connsiteX5" fmla="*/ 0 w 11754056"/>
              <a:gd name="connsiteY5" fmla="*/ 0 h 6880686"/>
              <a:gd name="connsiteX0" fmla="*/ 0 w 12124998"/>
              <a:gd name="connsiteY0" fmla="*/ 0 h 6880686"/>
              <a:gd name="connsiteX1" fmla="*/ 11754051 w 12124998"/>
              <a:gd name="connsiteY1" fmla="*/ 463 h 6880686"/>
              <a:gd name="connsiteX2" fmla="*/ 8352941 w 12124998"/>
              <a:gd name="connsiteY2" fmla="*/ 6880686 h 6880686"/>
              <a:gd name="connsiteX3" fmla="*/ 4101 w 12124998"/>
              <a:gd name="connsiteY3" fmla="*/ 6875410 h 6880686"/>
              <a:gd name="connsiteX4" fmla="*/ 0 w 12124998"/>
              <a:gd name="connsiteY4" fmla="*/ 0 h 6880686"/>
              <a:gd name="connsiteX0" fmla="*/ 0 w 11754551"/>
              <a:gd name="connsiteY0" fmla="*/ 0 h 6880686"/>
              <a:gd name="connsiteX1" fmla="*/ 11754051 w 11754551"/>
              <a:gd name="connsiteY1" fmla="*/ 463 h 6880686"/>
              <a:gd name="connsiteX2" fmla="*/ 8352941 w 11754551"/>
              <a:gd name="connsiteY2" fmla="*/ 6880686 h 6880686"/>
              <a:gd name="connsiteX3" fmla="*/ 4101 w 11754551"/>
              <a:gd name="connsiteY3" fmla="*/ 6875410 h 6880686"/>
              <a:gd name="connsiteX4" fmla="*/ 0 w 11754551"/>
              <a:gd name="connsiteY4" fmla="*/ 0 h 6880686"/>
              <a:gd name="connsiteX0" fmla="*/ 0 w 11754267"/>
              <a:gd name="connsiteY0" fmla="*/ 0 h 6880717"/>
              <a:gd name="connsiteX1" fmla="*/ 11754051 w 11754267"/>
              <a:gd name="connsiteY1" fmla="*/ 463 h 6880717"/>
              <a:gd name="connsiteX2" fmla="*/ 8352941 w 11754267"/>
              <a:gd name="connsiteY2" fmla="*/ 6880686 h 6880717"/>
              <a:gd name="connsiteX3" fmla="*/ 4101 w 11754267"/>
              <a:gd name="connsiteY3" fmla="*/ 6875410 h 6880717"/>
              <a:gd name="connsiteX4" fmla="*/ 0 w 11754267"/>
              <a:gd name="connsiteY4" fmla="*/ 0 h 6880717"/>
              <a:gd name="connsiteX0" fmla="*/ 0 w 14323711"/>
              <a:gd name="connsiteY0" fmla="*/ 0 h 6880717"/>
              <a:gd name="connsiteX1" fmla="*/ 14323587 w 14323711"/>
              <a:gd name="connsiteY1" fmla="*/ 463 h 6880717"/>
              <a:gd name="connsiteX2" fmla="*/ 8352941 w 14323711"/>
              <a:gd name="connsiteY2" fmla="*/ 6880686 h 6880717"/>
              <a:gd name="connsiteX3" fmla="*/ 4101 w 14323711"/>
              <a:gd name="connsiteY3" fmla="*/ 6875410 h 6880717"/>
              <a:gd name="connsiteX4" fmla="*/ 0 w 14323711"/>
              <a:gd name="connsiteY4" fmla="*/ 0 h 6880717"/>
              <a:gd name="connsiteX0" fmla="*/ 0 w 14323698"/>
              <a:gd name="connsiteY0" fmla="*/ 0 h 6880717"/>
              <a:gd name="connsiteX1" fmla="*/ 14323587 w 14323698"/>
              <a:gd name="connsiteY1" fmla="*/ 463 h 6880717"/>
              <a:gd name="connsiteX2" fmla="*/ 7642217 w 14323698"/>
              <a:gd name="connsiteY2" fmla="*/ 6880686 h 6880717"/>
              <a:gd name="connsiteX3" fmla="*/ 4101 w 14323698"/>
              <a:gd name="connsiteY3" fmla="*/ 6875410 h 6880717"/>
              <a:gd name="connsiteX4" fmla="*/ 0 w 14323698"/>
              <a:gd name="connsiteY4" fmla="*/ 0 h 6880717"/>
              <a:gd name="connsiteX0" fmla="*/ 0 w 14323708"/>
              <a:gd name="connsiteY0" fmla="*/ 0 h 6904562"/>
              <a:gd name="connsiteX1" fmla="*/ 14323587 w 14323708"/>
              <a:gd name="connsiteY1" fmla="*/ 463 h 6904562"/>
              <a:gd name="connsiteX2" fmla="*/ 8194156 w 14323708"/>
              <a:gd name="connsiteY2" fmla="*/ 6904531 h 6904562"/>
              <a:gd name="connsiteX3" fmla="*/ 4101 w 14323708"/>
              <a:gd name="connsiteY3" fmla="*/ 6875410 h 6904562"/>
              <a:gd name="connsiteX4" fmla="*/ 0 w 14323708"/>
              <a:gd name="connsiteY4" fmla="*/ 0 h 6904562"/>
              <a:gd name="connsiteX0" fmla="*/ 0 w 11308306"/>
              <a:gd name="connsiteY0" fmla="*/ 0 h 6904562"/>
              <a:gd name="connsiteX1" fmla="*/ 11308070 w 11308306"/>
              <a:gd name="connsiteY1" fmla="*/ 17709 h 6904562"/>
              <a:gd name="connsiteX2" fmla="*/ 8194156 w 11308306"/>
              <a:gd name="connsiteY2" fmla="*/ 6904531 h 6904562"/>
              <a:gd name="connsiteX3" fmla="*/ 4101 w 11308306"/>
              <a:gd name="connsiteY3" fmla="*/ 6875410 h 6904562"/>
              <a:gd name="connsiteX4" fmla="*/ 0 w 11308306"/>
              <a:gd name="connsiteY4" fmla="*/ 0 h 6904562"/>
              <a:gd name="connsiteX0" fmla="*/ 0 w 11218922"/>
              <a:gd name="connsiteY0" fmla="*/ 0 h 6904562"/>
              <a:gd name="connsiteX1" fmla="*/ 11218678 w 11218922"/>
              <a:gd name="connsiteY1" fmla="*/ 463 h 6904562"/>
              <a:gd name="connsiteX2" fmla="*/ 8194156 w 11218922"/>
              <a:gd name="connsiteY2" fmla="*/ 6904531 h 6904562"/>
              <a:gd name="connsiteX3" fmla="*/ 4101 w 11218922"/>
              <a:gd name="connsiteY3" fmla="*/ 6875410 h 6904562"/>
              <a:gd name="connsiteX4" fmla="*/ 0 w 11218922"/>
              <a:gd name="connsiteY4" fmla="*/ 0 h 6904562"/>
              <a:gd name="connsiteX0" fmla="*/ 0 w 11219065"/>
              <a:gd name="connsiteY0" fmla="*/ 0 h 6875502"/>
              <a:gd name="connsiteX1" fmla="*/ 11218678 w 11219065"/>
              <a:gd name="connsiteY1" fmla="*/ 463 h 6875502"/>
              <a:gd name="connsiteX2" fmla="*/ 9356276 w 11219065"/>
              <a:gd name="connsiteY2" fmla="*/ 6870039 h 6875502"/>
              <a:gd name="connsiteX3" fmla="*/ 4101 w 11219065"/>
              <a:gd name="connsiteY3" fmla="*/ 6875410 h 6875502"/>
              <a:gd name="connsiteX4" fmla="*/ 0 w 11219065"/>
              <a:gd name="connsiteY4" fmla="*/ 0 h 6875502"/>
              <a:gd name="connsiteX0" fmla="*/ 0 w 11218854"/>
              <a:gd name="connsiteY0" fmla="*/ 0 h 6895939"/>
              <a:gd name="connsiteX1" fmla="*/ 11218678 w 11218854"/>
              <a:gd name="connsiteY1" fmla="*/ 463 h 6895939"/>
              <a:gd name="connsiteX2" fmla="*/ 7017140 w 11218854"/>
              <a:gd name="connsiteY2" fmla="*/ 6895908 h 6895939"/>
              <a:gd name="connsiteX3" fmla="*/ 4101 w 11218854"/>
              <a:gd name="connsiteY3" fmla="*/ 6875410 h 6895939"/>
              <a:gd name="connsiteX4" fmla="*/ 0 w 11218854"/>
              <a:gd name="connsiteY4" fmla="*/ 0 h 6895939"/>
              <a:gd name="connsiteX0" fmla="*/ 0 w 11159259"/>
              <a:gd name="connsiteY0" fmla="*/ 0 h 6895939"/>
              <a:gd name="connsiteX1" fmla="*/ 11159081 w 11159259"/>
              <a:gd name="connsiteY1" fmla="*/ 17709 h 6895939"/>
              <a:gd name="connsiteX2" fmla="*/ 7017140 w 11159259"/>
              <a:gd name="connsiteY2" fmla="*/ 6895908 h 6895939"/>
              <a:gd name="connsiteX3" fmla="*/ 4101 w 11159259"/>
              <a:gd name="connsiteY3" fmla="*/ 6875410 h 6895939"/>
              <a:gd name="connsiteX4" fmla="*/ 0 w 11159259"/>
              <a:gd name="connsiteY4" fmla="*/ 0 h 6895939"/>
              <a:gd name="connsiteX0" fmla="*/ 0 w 11159261"/>
              <a:gd name="connsiteY0" fmla="*/ 0 h 6895939"/>
              <a:gd name="connsiteX1" fmla="*/ 11159081 w 11159261"/>
              <a:gd name="connsiteY1" fmla="*/ 17709 h 6895939"/>
              <a:gd name="connsiteX2" fmla="*/ 7061836 w 11159261"/>
              <a:gd name="connsiteY2" fmla="*/ 6895908 h 6895939"/>
              <a:gd name="connsiteX3" fmla="*/ 4101 w 11159261"/>
              <a:gd name="connsiteY3" fmla="*/ 6875410 h 6895939"/>
              <a:gd name="connsiteX4" fmla="*/ 0 w 11159261"/>
              <a:gd name="connsiteY4" fmla="*/ 0 h 6895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59261" h="6895939">
                <a:moveTo>
                  <a:pt x="0" y="0"/>
                </a:moveTo>
                <a:lnTo>
                  <a:pt x="11159081" y="17709"/>
                </a:lnTo>
                <a:cubicBezTo>
                  <a:pt x="11190794" y="27400"/>
                  <a:pt x="7036181" y="6913016"/>
                  <a:pt x="7061836" y="6895908"/>
                </a:cubicBezTo>
                <a:cubicBezTo>
                  <a:pt x="7087491" y="6878800"/>
                  <a:pt x="2787048" y="6877169"/>
                  <a:pt x="4101" y="687541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tIns="180000">
            <a:noAutofit/>
          </a:bodyPr>
          <a:lstStyle>
            <a:lvl1pPr algn="l">
              <a:defRPr lang="nl-NL" sz="1200" dirty="0">
                <a:solidFill>
                  <a:schemeClr val="bg1"/>
                </a:solidFill>
              </a:defRPr>
            </a:lvl1pPr>
          </a:lstStyle>
          <a:p>
            <a:pPr lvl="0" algn="ctr">
              <a:buNone/>
            </a:pPr>
            <a:r>
              <a:rPr lang="en-US" noProof="0"/>
              <a:t>Click icon to insert an imag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90CC876-AF98-48A0-BABD-72A2BB6C53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81963" y="2603828"/>
            <a:ext cx="5274530" cy="900522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8155769-BD9C-41FC-98BD-072FB92D31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1963" y="3591432"/>
            <a:ext cx="5274530" cy="59906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edit sub-head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40A8931-C8A0-45A5-8BCF-9199260141BE}"/>
              </a:ext>
            </a:extLst>
          </p:cNvPr>
          <p:cNvSpPr/>
          <p:nvPr/>
        </p:nvSpPr>
        <p:spPr>
          <a:xfrm>
            <a:off x="11781773" y="5642303"/>
            <a:ext cx="420154" cy="12192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68C5279-FFF4-4B01-907C-96DB5DBFB6AE}"/>
              </a:ext>
            </a:extLst>
          </p:cNvPr>
          <p:cNvSpPr/>
          <p:nvPr/>
        </p:nvSpPr>
        <p:spPr>
          <a:xfrm>
            <a:off x="11840971" y="6429171"/>
            <a:ext cx="3675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478F02DA-AB65-4DE3-8C32-C1DFFF12922F}" type="slidenum">
              <a:rPr lang="nl-NL" sz="1200" b="1" i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1200" b="1">
              <a:solidFill>
                <a:schemeClr val="bg1"/>
              </a:solidFill>
            </a:endParaRPr>
          </a:p>
        </p:txBody>
      </p:sp>
      <p:pic>
        <p:nvPicPr>
          <p:cNvPr id="7" name="Picture 6" descr="A picture containing clipart&#10;&#10;Description automatically generated">
            <a:extLst>
              <a:ext uri="{FF2B5EF4-FFF2-40B4-BE49-F238E27FC236}">
                <a16:creationId xmlns:a16="http://schemas.microsoft.com/office/drawing/2014/main" id="{03F4F811-97AD-41A5-BD5F-1A74BF2C3E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5665" y="6200815"/>
            <a:ext cx="1404731" cy="408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789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81">
          <p15:clr>
            <a:srgbClr val="FBAE40"/>
          </p15:clr>
        </p15:guide>
        <p15:guide id="2" orient="horz" pos="163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rever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5807871" y="-8628"/>
            <a:ext cx="6390479" cy="6866627"/>
          </a:xfrm>
          <a:custGeom>
            <a:avLst/>
            <a:gdLst>
              <a:gd name="connsiteX0" fmla="*/ 0 w 4790364"/>
              <a:gd name="connsiteY0" fmla="*/ 0 h 6858000"/>
              <a:gd name="connsiteX1" fmla="*/ 4790364 w 4790364"/>
              <a:gd name="connsiteY1" fmla="*/ 0 h 6858000"/>
              <a:gd name="connsiteX2" fmla="*/ 4790364 w 4790364"/>
              <a:gd name="connsiteY2" fmla="*/ 6858000 h 6858000"/>
              <a:gd name="connsiteX3" fmla="*/ 0 w 4790364"/>
              <a:gd name="connsiteY3" fmla="*/ 6858000 h 6858000"/>
              <a:gd name="connsiteX4" fmla="*/ 0 w 4790364"/>
              <a:gd name="connsiteY4" fmla="*/ 0 h 6858000"/>
              <a:gd name="connsiteX0" fmla="*/ 2320119 w 4790364"/>
              <a:gd name="connsiteY0" fmla="*/ 0 h 6858000"/>
              <a:gd name="connsiteX1" fmla="*/ 4790364 w 4790364"/>
              <a:gd name="connsiteY1" fmla="*/ 0 h 6858000"/>
              <a:gd name="connsiteX2" fmla="*/ 4790364 w 4790364"/>
              <a:gd name="connsiteY2" fmla="*/ 6858000 h 6858000"/>
              <a:gd name="connsiteX3" fmla="*/ 0 w 4790364"/>
              <a:gd name="connsiteY3" fmla="*/ 6858000 h 6858000"/>
              <a:gd name="connsiteX4" fmla="*/ 2320119 w 4790364"/>
              <a:gd name="connsiteY4" fmla="*/ 0 h 6858000"/>
              <a:gd name="connsiteX0" fmla="*/ 1776655 w 4790364"/>
              <a:gd name="connsiteY0" fmla="*/ 0 h 6866627"/>
              <a:gd name="connsiteX1" fmla="*/ 4790364 w 4790364"/>
              <a:gd name="connsiteY1" fmla="*/ 8627 h 6866627"/>
              <a:gd name="connsiteX2" fmla="*/ 4790364 w 4790364"/>
              <a:gd name="connsiteY2" fmla="*/ 6866627 h 6866627"/>
              <a:gd name="connsiteX3" fmla="*/ 0 w 4790364"/>
              <a:gd name="connsiteY3" fmla="*/ 6866627 h 6866627"/>
              <a:gd name="connsiteX4" fmla="*/ 1776655 w 4790364"/>
              <a:gd name="connsiteY4" fmla="*/ 0 h 6866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0364" h="6866627">
                <a:moveTo>
                  <a:pt x="1776655" y="0"/>
                </a:moveTo>
                <a:lnTo>
                  <a:pt x="4790364" y="8627"/>
                </a:lnTo>
                <a:lnTo>
                  <a:pt x="4790364" y="6866627"/>
                </a:lnTo>
                <a:lnTo>
                  <a:pt x="0" y="6866627"/>
                </a:lnTo>
                <a:lnTo>
                  <a:pt x="1776655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52B607-7D74-40E4-A439-AF41F3434890}"/>
              </a:ext>
            </a:extLst>
          </p:cNvPr>
          <p:cNvSpPr txBox="1">
            <a:spLocks/>
          </p:cNvSpPr>
          <p:nvPr/>
        </p:nvSpPr>
        <p:spPr>
          <a:xfrm>
            <a:off x="444309" y="2600325"/>
            <a:ext cx="6056128" cy="900522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sz="3200"/>
              <a:t>Click to edit </a:t>
            </a:r>
            <a:br>
              <a:rPr lang="en-US" sz="3200"/>
            </a:br>
            <a:r>
              <a:rPr lang="en-US" sz="3200"/>
              <a:t>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55CF4E4-2CAC-4B93-83D1-1F6228442F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4309" y="3587928"/>
            <a:ext cx="6056127" cy="526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edit sub-heading</a:t>
            </a:r>
          </a:p>
        </p:txBody>
      </p:sp>
    </p:spTree>
    <p:extLst>
      <p:ext uri="{BB962C8B-B14F-4D97-AF65-F5344CB8AC3E}">
        <p14:creationId xmlns:p14="http://schemas.microsoft.com/office/powerpoint/2010/main" val="2142316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80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03CBF365-2BA1-4A16-ADA3-2A337F8AEA24}"/>
              </a:ext>
            </a:extLst>
          </p:cNvPr>
          <p:cNvSpPr txBox="1">
            <a:spLocks/>
          </p:cNvSpPr>
          <p:nvPr/>
        </p:nvSpPr>
        <p:spPr>
          <a:xfrm>
            <a:off x="444309" y="2600325"/>
            <a:ext cx="11177479" cy="900522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sz="3200"/>
              <a:t>Click to edit </a:t>
            </a:r>
            <a:br>
              <a:rPr lang="en-US" sz="3200"/>
            </a:br>
            <a:r>
              <a:rPr lang="en-US" sz="3200"/>
              <a:t>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CACC30D-3853-43D3-9CFC-71F92BC76F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4309" y="3587928"/>
            <a:ext cx="11177479" cy="526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edit sub-heading</a:t>
            </a: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A5041BDA-C544-48B9-8B12-53EE89B4198F}"/>
              </a:ext>
            </a:extLst>
          </p:cNvPr>
          <p:cNvSpPr/>
          <p:nvPr/>
        </p:nvSpPr>
        <p:spPr>
          <a:xfrm>
            <a:off x="11781773" y="5642303"/>
            <a:ext cx="420154" cy="12192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C62D40-5179-4460-AFA5-AE8C22B13020}"/>
              </a:ext>
            </a:extLst>
          </p:cNvPr>
          <p:cNvSpPr/>
          <p:nvPr/>
        </p:nvSpPr>
        <p:spPr>
          <a:xfrm>
            <a:off x="11840971" y="6429171"/>
            <a:ext cx="3675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478F02DA-AB65-4DE3-8C32-C1DFFF12922F}" type="slidenum">
              <a:rPr lang="nl-NL" sz="1200" b="1" i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1200" b="1">
              <a:solidFill>
                <a:schemeClr val="bg1"/>
              </a:solidFill>
            </a:endParaRPr>
          </a:p>
        </p:txBody>
      </p:sp>
      <p:pic>
        <p:nvPicPr>
          <p:cNvPr id="4" name="Picture 3" descr="A picture containing clipart&#10;&#10;Description automatically generated">
            <a:extLst>
              <a:ext uri="{FF2B5EF4-FFF2-40B4-BE49-F238E27FC236}">
                <a16:creationId xmlns:a16="http://schemas.microsoft.com/office/drawing/2014/main" id="{BC0690C1-96BE-454B-9E06-57DDD9A550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5665" y="6200815"/>
            <a:ext cx="1404731" cy="408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556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>
            <a:extLst>
              <a:ext uri="{FF2B5EF4-FFF2-40B4-BE49-F238E27FC236}">
                <a16:creationId xmlns:a16="http://schemas.microsoft.com/office/drawing/2014/main" id="{7B95B8A2-8DCF-524B-AE94-0D60A2C482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302" y="955517"/>
            <a:ext cx="11045746" cy="40827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CFB2EED-04C3-904C-8E92-3C0237CE58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300" y="368300"/>
            <a:ext cx="11045750" cy="3600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algn="l">
              <a:lnSpc>
                <a:spcPct val="108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576036" y="1557338"/>
            <a:ext cx="11046283" cy="3993474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 marL="719138" indent="-177800">
              <a:buClr>
                <a:schemeClr val="accent1"/>
              </a:buClr>
              <a:buFont typeface="Calibri" panose="020F0502020204030204" pitchFamily="34" charset="0"/>
              <a:buChar char="-"/>
              <a:defRPr sz="1400">
                <a:solidFill>
                  <a:schemeClr val="tx1"/>
                </a:solidFill>
              </a:defRPr>
            </a:lvl3pPr>
            <a:lvl4pPr>
              <a:buClr>
                <a:schemeClr val="tx2"/>
              </a:buClr>
              <a:defRPr sz="1400"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2E90A51-B0FF-1342-85CA-08C29FDD3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0233" y="5839269"/>
            <a:ext cx="8644500" cy="754435"/>
          </a:xfrm>
          <a:prstGeom prst="rect">
            <a:avLst/>
          </a:prstGeom>
        </p:spPr>
        <p:txBody>
          <a:bodyPr l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i="0">
                <a:solidFill>
                  <a:schemeClr val="tx1"/>
                </a:solidFill>
              </a:defRPr>
            </a:lvl1pPr>
            <a:lvl2pPr marL="342892" indent="0">
              <a:buNone/>
              <a:defRPr sz="600" i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783" indent="0">
              <a:buNone/>
              <a:defRPr sz="600" i="1"/>
            </a:lvl3pPr>
            <a:lvl4pPr marL="1028675" indent="0">
              <a:buNone/>
              <a:defRPr sz="600" i="1"/>
            </a:lvl4pPr>
            <a:lvl5pPr marL="1371566" indent="0">
              <a:buNone/>
              <a:defRPr sz="600" i="1"/>
            </a:lvl5pPr>
          </a:lstStyle>
          <a:p>
            <a:pPr lvl="0"/>
            <a:r>
              <a:rPr lang="en-US"/>
              <a:t>Place footnotes in this area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593666" y="6401432"/>
            <a:ext cx="11046283" cy="480725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marR="0" indent="0" algn="ctr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sz="1000" b="1"/>
            </a:lvl1pPr>
          </a:lstStyle>
          <a:p>
            <a:pPr marL="0" marR="0" lvl="0" indent="0" algn="l" defTabSz="685783" rtl="0" eaLnBrk="1" fontAlgn="auto" latinLnBrk="0" hangingPunct="1">
              <a:lnSpc>
                <a:spcPct val="108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For professional investors only</a:t>
            </a:r>
            <a:endParaRPr lang="en-GB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EC16DB9C-26B9-41CE-A127-2109A267A9B4}"/>
              </a:ext>
            </a:extLst>
          </p:cNvPr>
          <p:cNvSpPr/>
          <p:nvPr/>
        </p:nvSpPr>
        <p:spPr>
          <a:xfrm>
            <a:off x="11781773" y="5642303"/>
            <a:ext cx="420154" cy="1219200"/>
          </a:xfrm>
          <a:custGeom>
            <a:avLst/>
            <a:gdLst>
              <a:gd name="connsiteX0" fmla="*/ 0 w 979055"/>
              <a:gd name="connsiteY0" fmla="*/ 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  <a:gd name="connsiteX4" fmla="*/ 0 w 979055"/>
              <a:gd name="connsiteY4" fmla="*/ 0 h 3403600"/>
              <a:gd name="connsiteX0" fmla="*/ 0 w 979055"/>
              <a:gd name="connsiteY0" fmla="*/ 3403600 h 3403600"/>
              <a:gd name="connsiteX1" fmla="*/ 979055 w 979055"/>
              <a:gd name="connsiteY1" fmla="*/ 0 h 3403600"/>
              <a:gd name="connsiteX2" fmla="*/ 979055 w 979055"/>
              <a:gd name="connsiteY2" fmla="*/ 3403600 h 3403600"/>
              <a:gd name="connsiteX3" fmla="*/ 0 w 979055"/>
              <a:gd name="connsiteY3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9055" h="3403600">
                <a:moveTo>
                  <a:pt x="0" y="3403600"/>
                </a:moveTo>
                <a:lnTo>
                  <a:pt x="979055" y="0"/>
                </a:lnTo>
                <a:lnTo>
                  <a:pt x="979055" y="3403600"/>
                </a:lnTo>
                <a:lnTo>
                  <a:pt x="0" y="3403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2C5A8A-9ACA-43E0-80A2-2627A7FE5BB8}"/>
              </a:ext>
            </a:extLst>
          </p:cNvPr>
          <p:cNvSpPr/>
          <p:nvPr/>
        </p:nvSpPr>
        <p:spPr>
          <a:xfrm>
            <a:off x="11840971" y="6429171"/>
            <a:ext cx="3675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478F02DA-AB65-4DE3-8C32-C1DFFF12922F}" type="slidenum">
              <a:rPr lang="nl-NL" sz="1200" b="1" i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1200" b="1">
              <a:solidFill>
                <a:schemeClr val="bg1"/>
              </a:solidFill>
            </a:endParaRPr>
          </a:p>
        </p:txBody>
      </p:sp>
      <p:pic>
        <p:nvPicPr>
          <p:cNvPr id="20" name="Picture 19" descr="A picture containing clipart&#10;&#10;Description automatically generated">
            <a:extLst>
              <a:ext uri="{FF2B5EF4-FFF2-40B4-BE49-F238E27FC236}">
                <a16:creationId xmlns:a16="http://schemas.microsoft.com/office/drawing/2014/main" id="{A161B85F-459B-4CD8-832D-150BD2EF7A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5665" y="6200815"/>
            <a:ext cx="1404731" cy="408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5986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6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1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0BC9806-2C7C-485F-9ED6-6642DFD812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56404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0" imgH="350" progId="TCLayout.ActiveDocument.1">
                  <p:embed/>
                </p:oleObj>
              </mc:Choice>
              <mc:Fallback>
                <p:oleObj name="think-cell Slide" r:id="rId6" imgW="350" imgH="35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0BC9806-2C7C-485F-9ED6-6642DFD812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EC18C8A8-2A01-4E98-B1DF-B9F39EFC9F8F}" type="datetime3">
              <a:rPr lang="en-US" smtClean="0"/>
              <a:t>5 October 2022</a:t>
            </a:fld>
            <a:endParaRPr lang="en-IN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4" name="DisplayedGrid">
            <a:extLst>
              <a:ext uri="{FF2B5EF4-FFF2-40B4-BE49-F238E27FC236}">
                <a16:creationId xmlns:a16="http://schemas.microsoft.com/office/drawing/2014/main" id="{BB0ADF0F-8EE3-4B41-9A33-C652E9DBB948}"/>
              </a:ext>
            </a:extLst>
          </p:cNvPr>
          <p:cNvSpPr/>
          <p:nvPr userDrawn="1"/>
        </p:nvSpPr>
        <p:spPr>
          <a:xfrm>
            <a:off x="603383" y="1327148"/>
            <a:ext cx="10980001" cy="4797425"/>
          </a:xfrm>
          <a:prstGeom prst="rect">
            <a:avLst/>
          </a:prstGeom>
          <a:noFill/>
          <a:ln w="9525">
            <a:solidFill>
              <a:srgbClr val="FF0000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714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31" r:id="rId2"/>
    <p:sldLayoutId id="2147483840" r:id="rId3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2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1CA92D5-BE70-4920-A9B7-1974B6807F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43641991"/>
              </p:ext>
            </p:extLst>
          </p:nvPr>
        </p:nvGraphicFramePr>
        <p:xfrm>
          <a:off x="1589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92" imgH="595" progId="TCLayout.ActiveDocument.1">
                  <p:embed/>
                </p:oleObj>
              </mc:Choice>
              <mc:Fallback>
                <p:oleObj name="think-cell Slide" r:id="rId21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1CA92D5-BE70-4920-A9B7-1974B6807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92367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  <p:sldLayoutId id="2147483954" r:id="rId5"/>
    <p:sldLayoutId id="2147483955" r:id="rId6"/>
    <p:sldLayoutId id="2147483956" r:id="rId7"/>
    <p:sldLayoutId id="2147483957" r:id="rId8"/>
    <p:sldLayoutId id="2147483958" r:id="rId9"/>
    <p:sldLayoutId id="2147483959" r:id="rId10"/>
    <p:sldLayoutId id="2147483960" r:id="rId11"/>
    <p:sldLayoutId id="2147483961" r:id="rId12"/>
    <p:sldLayoutId id="2147483962" r:id="rId13"/>
    <p:sldLayoutId id="2147483963" r:id="rId14"/>
    <p:sldLayoutId id="2147483964" r:id="rId15"/>
    <p:sldLayoutId id="2147483965" r:id="rId16"/>
    <p:sldLayoutId id="2147483966" r:id="rId17"/>
    <p:sldLayoutId id="2147483967" r:id="rId18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200" b="0" i="0" kern="1200" baseline="0">
          <a:solidFill>
            <a:srgbClr val="3C287C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88000" indent="-288000" algn="l" defTabSz="685783" rtl="0" eaLnBrk="1" latinLnBrk="0" hangingPunct="1">
        <a:lnSpc>
          <a:spcPct val="108000"/>
        </a:lnSpc>
        <a:spcBef>
          <a:spcPts val="75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41338" indent="-222250" algn="l" defTabSz="685783" rtl="0" eaLnBrk="1" latinLnBrk="0" hangingPunct="1">
        <a:lnSpc>
          <a:spcPct val="108000"/>
        </a:lnSpc>
        <a:spcBef>
          <a:spcPts val="375"/>
        </a:spcBef>
        <a:buClr>
          <a:schemeClr val="accent1"/>
        </a:buClr>
        <a:buFont typeface="Calibri" panose="020F0502020204030204" pitchFamily="34" charset="0"/>
        <a:buChar char="–"/>
        <a:defRPr sz="1600" b="0" i="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719138" indent="-177800" algn="l" defTabSz="685783" rtl="0" eaLnBrk="1" latinLnBrk="0" hangingPunct="1">
        <a:lnSpc>
          <a:spcPct val="108000"/>
        </a:lnSpc>
        <a:spcBef>
          <a:spcPts val="375"/>
        </a:spcBef>
        <a:buClr>
          <a:schemeClr val="tx1"/>
        </a:buClr>
        <a:buFont typeface="Calibri" panose="020F0502020204030204" pitchFamily="34" charset="0"/>
        <a:buChar char="-"/>
        <a:defRPr sz="1600" b="0" i="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719138" indent="-177800" algn="l" defTabSz="685783" rtl="0" eaLnBrk="1" latinLnBrk="0" hangingPunct="1">
        <a:lnSpc>
          <a:spcPct val="108000"/>
        </a:lnSpc>
        <a:spcBef>
          <a:spcPts val="375"/>
        </a:spcBef>
        <a:buClr>
          <a:schemeClr val="tx2"/>
        </a:buClr>
        <a:buFont typeface="Calibri" panose="020F0502020204030204" pitchFamily="34" charset="0"/>
        <a:buChar char="-"/>
        <a:defRPr sz="1600" b="0" i="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32">
          <p15:clr>
            <a:srgbClr val="F26B43"/>
          </p15:clr>
        </p15:guide>
        <p15:guide id="3" orient="horz" pos="4156">
          <p15:clr>
            <a:srgbClr val="F26B43"/>
          </p15:clr>
        </p15:guide>
        <p15:guide id="4" orient="horz" pos="981">
          <p15:clr>
            <a:srgbClr val="F26B43"/>
          </p15:clr>
        </p15:guide>
        <p15:guide id="5" orient="horz" pos="600">
          <p15:clr>
            <a:srgbClr val="F26B43"/>
          </p15:clr>
        </p15:guide>
        <p15:guide id="6" pos="3840">
          <p15:clr>
            <a:srgbClr val="F26B43"/>
          </p15:clr>
        </p15:guide>
        <p15:guide id="7" pos="363">
          <p15:clr>
            <a:srgbClr val="F26B43"/>
          </p15:clr>
        </p15:guide>
        <p15:guide id="8" pos="7317">
          <p15:clr>
            <a:srgbClr val="F26B43"/>
          </p15:clr>
        </p15:guide>
        <p15:guide id="9" orient="horz" pos="15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1D2C319-02FD-4B27-8EE6-B506C782E2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8923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1D2C319-02FD-4B27-8EE6-B506C782E2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D0B1A51A-97C5-4528-938D-A4CA00C179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2025" y="1321185"/>
            <a:ext cx="5375450" cy="533410"/>
          </a:xfrm>
        </p:spPr>
        <p:txBody>
          <a:bodyPr vert="horz"/>
          <a:lstStyle/>
          <a:p>
            <a:r>
              <a:rPr lang="de-DE" dirty="0"/>
              <a:t>Semantic layer </a:t>
            </a:r>
            <a:br>
              <a:rPr lang="de-DE" dirty="0"/>
            </a:br>
            <a:br>
              <a:rPr lang="de-DE" dirty="0"/>
            </a:br>
            <a:r>
              <a:rPr lang="de-DE" dirty="0"/>
              <a:t>Planning next step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921708D-2FCB-4C39-9094-94D27318E4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2025" y="3951291"/>
            <a:ext cx="5025412" cy="202672"/>
          </a:xfrm>
        </p:spPr>
        <p:txBody>
          <a:bodyPr lIns="0" tIns="0" rIns="0" bIns="0" anchor="t"/>
          <a:lstStyle/>
          <a:p>
            <a:r>
              <a:rPr lang="de-DE" dirty="0">
                <a:latin typeface="Calibri"/>
                <a:cs typeface="Calibri"/>
              </a:rPr>
              <a:t>05 Oct, 2022</a:t>
            </a:r>
          </a:p>
        </p:txBody>
      </p:sp>
    </p:spTree>
    <p:extLst>
      <p:ext uri="{BB962C8B-B14F-4D97-AF65-F5344CB8AC3E}">
        <p14:creationId xmlns:p14="http://schemas.microsoft.com/office/powerpoint/2010/main" val="33383933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623223" y="510005"/>
            <a:ext cx="11045750" cy="360000"/>
          </a:xfrm>
        </p:spPr>
        <p:txBody>
          <a:bodyPr/>
          <a:lstStyle/>
          <a:p>
            <a:r>
              <a:rPr lang="en-GB" dirty="0"/>
              <a:t>Contents </a:t>
            </a:r>
          </a:p>
        </p:txBody>
      </p:sp>
      <p:graphicFrame>
        <p:nvGraphicFramePr>
          <p:cNvPr id="4" name="Content Placeholder 20">
            <a:extLst>
              <a:ext uri="{FF2B5EF4-FFF2-40B4-BE49-F238E27FC236}">
                <a16:creationId xmlns:a16="http://schemas.microsoft.com/office/drawing/2014/main" id="{1E6152A3-C0AD-4B54-A4C2-194ADE5BCD0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4516383"/>
              </p:ext>
            </p:extLst>
          </p:nvPr>
        </p:nvGraphicFramePr>
        <p:xfrm>
          <a:off x="611452" y="1236726"/>
          <a:ext cx="10181888" cy="2307662"/>
        </p:xfrm>
        <a:graphic>
          <a:graphicData uri="http://schemas.openxmlformats.org/drawingml/2006/table">
            <a:tbl>
              <a:tblPr firstRow="1" bandRow="1"/>
              <a:tblGrid>
                <a:gridCol w="4916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692">
                  <a:extLst>
                    <a:ext uri="{9D8B030D-6E8A-4147-A177-3AD203B41FA5}">
                      <a16:colId xmlns:a16="http://schemas.microsoft.com/office/drawing/2014/main" val="684958050"/>
                    </a:ext>
                  </a:extLst>
                </a:gridCol>
                <a:gridCol w="95745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6672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1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400" b="1" dirty="0">
                        <a:solidFill>
                          <a:schemeClr val="tx1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Semantic Layer – path to future state architecture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5443706"/>
                  </a:ext>
                </a:extLst>
              </a:tr>
              <a:tr h="511010">
                <a:tc>
                  <a:txBody>
                    <a:bodyPr/>
                    <a:lstStyle/>
                    <a:p>
                      <a:pPr algn="l"/>
                      <a:r>
                        <a:rPr lang="en-GB" sz="1400" b="1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2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400" b="1">
                        <a:solidFill>
                          <a:schemeClr val="tx1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Approac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1690626"/>
                  </a:ext>
                </a:extLst>
              </a:tr>
              <a:tr h="481375">
                <a:tc>
                  <a:txBody>
                    <a:bodyPr/>
                    <a:lstStyle/>
                    <a:p>
                      <a:pPr algn="l"/>
                      <a:r>
                        <a:rPr lang="en-GB" sz="1400" b="1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3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400" b="1">
                        <a:solidFill>
                          <a:schemeClr val="tx1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High Level Plan v0.1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4237529"/>
                  </a:ext>
                </a:extLst>
              </a:tr>
              <a:tr h="418011">
                <a:tc>
                  <a:txBody>
                    <a:bodyPr/>
                    <a:lstStyle/>
                    <a:p>
                      <a:pPr algn="l"/>
                      <a:r>
                        <a:rPr lang="en-GB" sz="1400" b="1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4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400" b="1">
                        <a:solidFill>
                          <a:schemeClr val="tx1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Semantic Layer Team: Current Hypothesis to be refined during workshop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634979"/>
                  </a:ext>
                </a:extLst>
              </a:tr>
              <a:tr h="400594">
                <a:tc>
                  <a:txBody>
                    <a:bodyPr/>
                    <a:lstStyle/>
                    <a:p>
                      <a:pPr algn="l"/>
                      <a:r>
                        <a:rPr lang="en-GB" sz="1400" b="1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5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400" b="1">
                        <a:solidFill>
                          <a:schemeClr val="tx1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559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Semantic Layer Vision: A key next step is building out the next level of detail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5962883"/>
                  </a:ext>
                </a:extLst>
              </a:tr>
            </a:tbl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B81C967D-7208-4324-8AFE-E843C63450C4}"/>
              </a:ext>
            </a:extLst>
          </p:cNvPr>
          <p:cNvSpPr/>
          <p:nvPr/>
        </p:nvSpPr>
        <p:spPr>
          <a:xfrm>
            <a:off x="524002" y="1341010"/>
            <a:ext cx="285531" cy="2960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A62AC1C-DADC-4922-B1A7-EBD0A0A22B1A}"/>
              </a:ext>
            </a:extLst>
          </p:cNvPr>
          <p:cNvSpPr/>
          <p:nvPr/>
        </p:nvSpPr>
        <p:spPr>
          <a:xfrm>
            <a:off x="524001" y="1850353"/>
            <a:ext cx="285531" cy="2960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E040D4F-638C-485B-A9EE-700DE82E1BD7}"/>
              </a:ext>
            </a:extLst>
          </p:cNvPr>
          <p:cNvSpPr/>
          <p:nvPr/>
        </p:nvSpPr>
        <p:spPr>
          <a:xfrm>
            <a:off x="524000" y="2353246"/>
            <a:ext cx="285531" cy="2960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1B93E2D-EDFB-44BC-829E-C3B7417D0901}"/>
              </a:ext>
            </a:extLst>
          </p:cNvPr>
          <p:cNvSpPr/>
          <p:nvPr/>
        </p:nvSpPr>
        <p:spPr>
          <a:xfrm>
            <a:off x="523999" y="2789305"/>
            <a:ext cx="285531" cy="2960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A46FC6F-940D-45E4-8417-1656AB6A07B2}"/>
              </a:ext>
            </a:extLst>
          </p:cNvPr>
          <p:cNvSpPr/>
          <p:nvPr/>
        </p:nvSpPr>
        <p:spPr>
          <a:xfrm>
            <a:off x="524002" y="3184126"/>
            <a:ext cx="285531" cy="2960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2466234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623223" y="510005"/>
            <a:ext cx="11045750" cy="360000"/>
          </a:xfrm>
        </p:spPr>
        <p:txBody>
          <a:bodyPr/>
          <a:lstStyle/>
          <a:p>
            <a:r>
              <a:rPr lang="en-GB" dirty="0"/>
              <a:t>Semantic Layer – path to future state architecture 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AACE260C-F5F4-42DA-B28A-2E3B52C896A8}"/>
              </a:ext>
            </a:extLst>
          </p:cNvPr>
          <p:cNvSpPr/>
          <p:nvPr/>
        </p:nvSpPr>
        <p:spPr>
          <a:xfrm>
            <a:off x="681263" y="3315744"/>
            <a:ext cx="11045749" cy="3076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67C057DA-4EE6-42EF-83C5-9FF95A2B8762}"/>
              </a:ext>
            </a:extLst>
          </p:cNvPr>
          <p:cNvSpPr/>
          <p:nvPr/>
        </p:nvSpPr>
        <p:spPr>
          <a:xfrm>
            <a:off x="1127760" y="2423160"/>
            <a:ext cx="2123440" cy="2011680"/>
          </a:xfrm>
          <a:prstGeom prst="ellipse">
            <a:avLst/>
          </a:prstGeom>
          <a:solidFill>
            <a:schemeClr val="bg2"/>
          </a:solidFill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104ECF-7F7C-4530-887B-6E54C66DB4F8}"/>
              </a:ext>
            </a:extLst>
          </p:cNvPr>
          <p:cNvSpPr txBox="1"/>
          <p:nvPr/>
        </p:nvSpPr>
        <p:spPr>
          <a:xfrm>
            <a:off x="1418772" y="3028891"/>
            <a:ext cx="1576252" cy="800219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2000" dirty="0">
                <a:solidFill>
                  <a:schemeClr val="tx1"/>
                </a:solidFill>
              </a:rPr>
              <a:t>Vision</a:t>
            </a:r>
          </a:p>
          <a:p>
            <a:pPr algn="ctr"/>
            <a:r>
              <a:rPr lang="en-GB" sz="3200" dirty="0"/>
              <a:t>?</a:t>
            </a:r>
            <a:endParaRPr lang="en-GB" sz="3200" dirty="0">
              <a:solidFill>
                <a:schemeClr val="tx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05D4E9E-412D-4149-91E4-5D6053A458FE}"/>
              </a:ext>
            </a:extLst>
          </p:cNvPr>
          <p:cNvSpPr/>
          <p:nvPr/>
        </p:nvSpPr>
        <p:spPr>
          <a:xfrm>
            <a:off x="3734224" y="2423160"/>
            <a:ext cx="2123440" cy="2011680"/>
          </a:xfrm>
          <a:prstGeom prst="ellipse">
            <a:avLst/>
          </a:prstGeom>
          <a:solidFill>
            <a:schemeClr val="bg2"/>
          </a:solidFill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3D5897E-6313-44A1-8177-869607DFDF9E}"/>
              </a:ext>
            </a:extLst>
          </p:cNvPr>
          <p:cNvSpPr txBox="1"/>
          <p:nvPr/>
        </p:nvSpPr>
        <p:spPr>
          <a:xfrm>
            <a:off x="4018278" y="3028891"/>
            <a:ext cx="1576252" cy="800219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2000" dirty="0">
                <a:solidFill>
                  <a:schemeClr val="tx1"/>
                </a:solidFill>
              </a:rPr>
              <a:t>Requirements</a:t>
            </a:r>
            <a:endParaRPr lang="en-GB" sz="1600" dirty="0">
              <a:solidFill>
                <a:schemeClr val="tx1"/>
              </a:solidFill>
            </a:endParaRPr>
          </a:p>
          <a:p>
            <a:pPr algn="ctr"/>
            <a:r>
              <a:rPr lang="en-GB" sz="3200" dirty="0"/>
              <a:t>?</a:t>
            </a:r>
            <a:endParaRPr lang="en-GB" sz="3200" dirty="0">
              <a:solidFill>
                <a:schemeClr val="tx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D9E9554-6543-44CC-8399-B7600661CFE4}"/>
              </a:ext>
            </a:extLst>
          </p:cNvPr>
          <p:cNvSpPr/>
          <p:nvPr/>
        </p:nvSpPr>
        <p:spPr>
          <a:xfrm>
            <a:off x="6340688" y="2423160"/>
            <a:ext cx="2123440" cy="2011680"/>
          </a:xfrm>
          <a:prstGeom prst="ellipse">
            <a:avLst/>
          </a:prstGeom>
          <a:solidFill>
            <a:schemeClr val="bg2"/>
          </a:solidFill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CE4CDD2-5630-4BF0-AE36-C417F43E26FA}"/>
              </a:ext>
            </a:extLst>
          </p:cNvPr>
          <p:cNvSpPr txBox="1"/>
          <p:nvPr/>
        </p:nvSpPr>
        <p:spPr>
          <a:xfrm>
            <a:off x="6609080" y="3028891"/>
            <a:ext cx="1576252" cy="800219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2000" dirty="0">
                <a:solidFill>
                  <a:schemeClr val="tx1"/>
                </a:solidFill>
              </a:rPr>
              <a:t>MVP</a:t>
            </a:r>
            <a:endParaRPr lang="en-GB" dirty="0">
              <a:solidFill>
                <a:schemeClr val="tx1"/>
              </a:solidFill>
            </a:endParaRPr>
          </a:p>
          <a:p>
            <a:pPr algn="ctr"/>
            <a:r>
              <a:rPr lang="en-GB" sz="3200" dirty="0"/>
              <a:t>?</a:t>
            </a:r>
            <a:endParaRPr lang="en-GB" sz="3200" dirty="0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B4547E3-6439-42EC-A288-42A5C3BE3A04}"/>
              </a:ext>
            </a:extLst>
          </p:cNvPr>
          <p:cNvSpPr/>
          <p:nvPr/>
        </p:nvSpPr>
        <p:spPr>
          <a:xfrm>
            <a:off x="8947152" y="2423160"/>
            <a:ext cx="2123440" cy="2011680"/>
          </a:xfrm>
          <a:prstGeom prst="ellipse">
            <a:avLst/>
          </a:prstGeom>
          <a:solidFill>
            <a:schemeClr val="bg2"/>
          </a:solidFill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EAF2233-D813-4D4E-BE43-9C499B2E0307}"/>
              </a:ext>
            </a:extLst>
          </p:cNvPr>
          <p:cNvSpPr txBox="1"/>
          <p:nvPr/>
        </p:nvSpPr>
        <p:spPr>
          <a:xfrm>
            <a:off x="9214877" y="2744367"/>
            <a:ext cx="1576252" cy="1107996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2000" dirty="0">
                <a:solidFill>
                  <a:schemeClr val="tx1"/>
                </a:solidFill>
              </a:rPr>
              <a:t>Strategic </a:t>
            </a:r>
          </a:p>
          <a:p>
            <a:pPr algn="ctr"/>
            <a:r>
              <a:rPr lang="en-GB" sz="2000" dirty="0"/>
              <a:t>E</a:t>
            </a:r>
            <a:r>
              <a:rPr lang="en-GB" sz="2000" dirty="0">
                <a:solidFill>
                  <a:schemeClr val="tx1"/>
                </a:solidFill>
              </a:rPr>
              <a:t>nd-Solution</a:t>
            </a:r>
          </a:p>
          <a:p>
            <a:pPr algn="ctr"/>
            <a:r>
              <a:rPr lang="en-GB" sz="3200" dirty="0"/>
              <a:t>?</a:t>
            </a:r>
            <a:endParaRPr lang="en-GB" sz="3200" dirty="0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41803E6-CAC5-4D97-A49D-3ECDC5768B61}"/>
              </a:ext>
            </a:extLst>
          </p:cNvPr>
          <p:cNvSpPr/>
          <p:nvPr/>
        </p:nvSpPr>
        <p:spPr>
          <a:xfrm>
            <a:off x="2050143" y="2057045"/>
            <a:ext cx="278674" cy="269966"/>
          </a:xfrm>
          <a:prstGeom prst="ellipse">
            <a:avLst/>
          </a:prstGeom>
          <a:solidFill>
            <a:schemeClr val="accent3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1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F76AAC6E-7096-41CE-B450-15D2DB2C0CE9}"/>
              </a:ext>
            </a:extLst>
          </p:cNvPr>
          <p:cNvSpPr/>
          <p:nvPr/>
        </p:nvSpPr>
        <p:spPr>
          <a:xfrm>
            <a:off x="4656607" y="2057045"/>
            <a:ext cx="278674" cy="269966"/>
          </a:xfrm>
          <a:prstGeom prst="ellipse">
            <a:avLst/>
          </a:prstGeom>
          <a:solidFill>
            <a:schemeClr val="accent3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2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F753FFE-A3F8-499B-8F02-DBA52BC263F7}"/>
              </a:ext>
            </a:extLst>
          </p:cNvPr>
          <p:cNvSpPr/>
          <p:nvPr/>
        </p:nvSpPr>
        <p:spPr>
          <a:xfrm>
            <a:off x="7235367" y="2057045"/>
            <a:ext cx="278674" cy="269966"/>
          </a:xfrm>
          <a:prstGeom prst="ellipse">
            <a:avLst/>
          </a:prstGeom>
          <a:solidFill>
            <a:schemeClr val="accent3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3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54477463-4638-433A-A818-CEB8901B21BC}"/>
              </a:ext>
            </a:extLst>
          </p:cNvPr>
          <p:cNvSpPr/>
          <p:nvPr/>
        </p:nvSpPr>
        <p:spPr>
          <a:xfrm>
            <a:off x="9852238" y="2057045"/>
            <a:ext cx="278674" cy="269966"/>
          </a:xfrm>
          <a:prstGeom prst="ellipse">
            <a:avLst/>
          </a:prstGeom>
          <a:solidFill>
            <a:schemeClr val="accent3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9FCDD7-9438-442D-BB01-A7B1DD707D06}"/>
              </a:ext>
            </a:extLst>
          </p:cNvPr>
          <p:cNvSpPr txBox="1"/>
          <p:nvPr/>
        </p:nvSpPr>
        <p:spPr>
          <a:xfrm>
            <a:off x="665188" y="3179609"/>
            <a:ext cx="447081" cy="169277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1100" dirty="0">
                <a:solidFill>
                  <a:schemeClr val="tx1"/>
                </a:solidFill>
              </a:rPr>
              <a:t>Toda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CED0A7A-429E-4757-AD32-0D35218AB4CA}"/>
              </a:ext>
            </a:extLst>
          </p:cNvPr>
          <p:cNvSpPr txBox="1"/>
          <p:nvPr/>
        </p:nvSpPr>
        <p:spPr>
          <a:xfrm>
            <a:off x="11184479" y="2925693"/>
            <a:ext cx="720138" cy="338554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1100" dirty="0"/>
              <a:t>RAFT scope</a:t>
            </a:r>
          </a:p>
          <a:p>
            <a:r>
              <a:rPr lang="en-GB" sz="1100" dirty="0"/>
              <a:t>May 2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E96120-6C58-B0A3-1BFD-6DF923DC2276}"/>
              </a:ext>
            </a:extLst>
          </p:cNvPr>
          <p:cNvSpPr txBox="1"/>
          <p:nvPr/>
        </p:nvSpPr>
        <p:spPr>
          <a:xfrm>
            <a:off x="665188" y="1079863"/>
            <a:ext cx="10037646" cy="215444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The key stages we need to follow in order to agree the future state Semantic Layer (SL) architecture is as follows: </a:t>
            </a:r>
            <a:endParaRPr lang="en-GB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938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623223" y="510005"/>
            <a:ext cx="11045750" cy="360000"/>
          </a:xfrm>
        </p:spPr>
        <p:txBody>
          <a:bodyPr/>
          <a:lstStyle/>
          <a:p>
            <a:r>
              <a:rPr lang="en-GB" dirty="0"/>
              <a:t>Approach 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12AAEDF-AFD6-42FC-8C31-7CE0BBBCD750}"/>
              </a:ext>
            </a:extLst>
          </p:cNvPr>
          <p:cNvSpPr>
            <a:spLocks noChangeAspect="1"/>
          </p:cNvSpPr>
          <p:nvPr/>
        </p:nvSpPr>
        <p:spPr>
          <a:xfrm>
            <a:off x="2145147" y="1587736"/>
            <a:ext cx="873995" cy="828000"/>
          </a:xfrm>
          <a:prstGeom prst="ellipse">
            <a:avLst/>
          </a:prstGeom>
          <a:solidFill>
            <a:schemeClr val="bg2"/>
          </a:solidFill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solidFill>
                  <a:schemeClr val="tx1"/>
                </a:solidFill>
              </a:rPr>
              <a:t>Vis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E73E104-ECE7-4ADA-930B-67217B3DFB4B}"/>
              </a:ext>
            </a:extLst>
          </p:cNvPr>
          <p:cNvSpPr/>
          <p:nvPr/>
        </p:nvSpPr>
        <p:spPr>
          <a:xfrm>
            <a:off x="634208" y="1965736"/>
            <a:ext cx="1219200" cy="2721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Obtain Data integration decision tree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47498F7-9B04-4BFE-A06C-267AFFFEF60E}"/>
              </a:ext>
            </a:extLst>
          </p:cNvPr>
          <p:cNvSpPr/>
          <p:nvPr/>
        </p:nvSpPr>
        <p:spPr>
          <a:xfrm>
            <a:off x="3290328" y="1186965"/>
            <a:ext cx="1219200" cy="272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Agreed Use cas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A12EA75-9C6A-464E-BDD6-6D5B14E9E123}"/>
              </a:ext>
            </a:extLst>
          </p:cNvPr>
          <p:cNvSpPr/>
          <p:nvPr/>
        </p:nvSpPr>
        <p:spPr>
          <a:xfrm>
            <a:off x="634208" y="1353941"/>
            <a:ext cx="1219200" cy="2721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Define Business goals/outcome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8E16908-85E7-471E-9184-5351CF3C7469}"/>
              </a:ext>
            </a:extLst>
          </p:cNvPr>
          <p:cNvSpPr/>
          <p:nvPr/>
        </p:nvSpPr>
        <p:spPr>
          <a:xfrm>
            <a:off x="634208" y="2272696"/>
            <a:ext cx="1219200" cy="3143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Define SL source and consumer systems/feed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9F332F3-65E7-44F9-B09E-55110A477DE6}"/>
              </a:ext>
            </a:extLst>
          </p:cNvPr>
          <p:cNvSpPr/>
          <p:nvPr/>
        </p:nvSpPr>
        <p:spPr>
          <a:xfrm>
            <a:off x="634208" y="1659838"/>
            <a:ext cx="1219200" cy="2721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Define Business/client users</a:t>
            </a:r>
            <a:endParaRPr lang="en-GB" dirty="0">
              <a:solidFill>
                <a:schemeClr val="tx1"/>
              </a:solidFill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95297A2E-B876-4566-AA7E-F239ACC69139}"/>
              </a:ext>
            </a:extLst>
          </p:cNvPr>
          <p:cNvCxnSpPr>
            <a:cxnSpLocks/>
            <a:stCxn id="19" idx="3"/>
            <a:endCxn id="16" idx="2"/>
          </p:cNvCxnSpPr>
          <p:nvPr/>
        </p:nvCxnSpPr>
        <p:spPr>
          <a:xfrm>
            <a:off x="1853408" y="1490021"/>
            <a:ext cx="291739" cy="5117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8B886340-05F8-4999-9D1C-475FD437BD2D}"/>
              </a:ext>
            </a:extLst>
          </p:cNvPr>
          <p:cNvCxnSpPr>
            <a:cxnSpLocks/>
            <a:stCxn id="21" idx="3"/>
            <a:endCxn id="16" idx="2"/>
          </p:cNvCxnSpPr>
          <p:nvPr/>
        </p:nvCxnSpPr>
        <p:spPr>
          <a:xfrm>
            <a:off x="1853408" y="1795918"/>
            <a:ext cx="291739" cy="2058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065468C5-9D52-486E-87C1-468CB895B9D6}"/>
              </a:ext>
            </a:extLst>
          </p:cNvPr>
          <p:cNvCxnSpPr>
            <a:cxnSpLocks/>
            <a:stCxn id="17" idx="3"/>
            <a:endCxn id="16" idx="2"/>
          </p:cNvCxnSpPr>
          <p:nvPr/>
        </p:nvCxnSpPr>
        <p:spPr>
          <a:xfrm flipV="1">
            <a:off x="1853408" y="2001736"/>
            <a:ext cx="291739" cy="10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65180EB0-8E2B-4E28-A20B-7595ABFC7416}"/>
              </a:ext>
            </a:extLst>
          </p:cNvPr>
          <p:cNvCxnSpPr>
            <a:cxnSpLocks/>
            <a:stCxn id="20" idx="3"/>
            <a:endCxn id="16" idx="2"/>
          </p:cNvCxnSpPr>
          <p:nvPr/>
        </p:nvCxnSpPr>
        <p:spPr>
          <a:xfrm flipV="1">
            <a:off x="1853408" y="2001736"/>
            <a:ext cx="291739" cy="4281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2EC8FD43-7D0D-4AB1-B723-FD8D4D150D34}"/>
              </a:ext>
            </a:extLst>
          </p:cNvPr>
          <p:cNvSpPr>
            <a:spLocks noChangeAspect="1"/>
          </p:cNvSpPr>
          <p:nvPr/>
        </p:nvSpPr>
        <p:spPr>
          <a:xfrm>
            <a:off x="2492144" y="1717435"/>
            <a:ext cx="180000" cy="174376"/>
          </a:xfrm>
          <a:prstGeom prst="ellipse">
            <a:avLst/>
          </a:prstGeom>
          <a:solidFill>
            <a:schemeClr val="accent3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1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7F66721-4CBB-4998-9B4A-52BD3BFD4945}"/>
              </a:ext>
            </a:extLst>
          </p:cNvPr>
          <p:cNvSpPr/>
          <p:nvPr/>
        </p:nvSpPr>
        <p:spPr>
          <a:xfrm>
            <a:off x="3290328" y="1825165"/>
            <a:ext cx="1219200" cy="272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Requirements for strategic solution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E83E491-972E-476A-8EBD-C6B229D44509}"/>
              </a:ext>
            </a:extLst>
          </p:cNvPr>
          <p:cNvSpPr/>
          <p:nvPr/>
        </p:nvSpPr>
        <p:spPr>
          <a:xfrm>
            <a:off x="3289168" y="2147948"/>
            <a:ext cx="1219200" cy="272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Requirements for MVP solution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2AAC23B9-54B7-4CD2-BEFA-3A9D23FBE75C}"/>
              </a:ext>
            </a:extLst>
          </p:cNvPr>
          <p:cNvSpPr/>
          <p:nvPr/>
        </p:nvSpPr>
        <p:spPr>
          <a:xfrm>
            <a:off x="3289168" y="1501567"/>
            <a:ext cx="1219200" cy="272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Defined SL data sources and consumers of data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B8F1766F-B600-4618-B6E5-47E5A627C646}"/>
              </a:ext>
            </a:extLst>
          </p:cNvPr>
          <p:cNvCxnSpPr>
            <a:cxnSpLocks/>
            <a:stCxn id="16" idx="6"/>
            <a:endCxn id="18" idx="1"/>
          </p:cNvCxnSpPr>
          <p:nvPr/>
        </p:nvCxnSpPr>
        <p:spPr>
          <a:xfrm flipV="1">
            <a:off x="3019142" y="1323045"/>
            <a:ext cx="271186" cy="6786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FC87A758-59D8-47BC-A16E-455BD28F2B11}"/>
              </a:ext>
            </a:extLst>
          </p:cNvPr>
          <p:cNvCxnSpPr>
            <a:cxnSpLocks/>
            <a:stCxn id="16" idx="6"/>
            <a:endCxn id="56" idx="1"/>
          </p:cNvCxnSpPr>
          <p:nvPr/>
        </p:nvCxnSpPr>
        <p:spPr>
          <a:xfrm flipV="1">
            <a:off x="3019142" y="1637647"/>
            <a:ext cx="270026" cy="3640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6E0DB42D-B2FC-4DEB-B4F1-4A90904958DD}"/>
              </a:ext>
            </a:extLst>
          </p:cNvPr>
          <p:cNvCxnSpPr>
            <a:cxnSpLocks/>
            <a:stCxn id="16" idx="6"/>
            <a:endCxn id="50" idx="1"/>
          </p:cNvCxnSpPr>
          <p:nvPr/>
        </p:nvCxnSpPr>
        <p:spPr>
          <a:xfrm flipV="1">
            <a:off x="3019142" y="1961245"/>
            <a:ext cx="271186" cy="404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22C10588-58CA-4B83-9614-07781DCEC55B}"/>
              </a:ext>
            </a:extLst>
          </p:cNvPr>
          <p:cNvCxnSpPr>
            <a:cxnSpLocks/>
          </p:cNvCxnSpPr>
          <p:nvPr/>
        </p:nvCxnSpPr>
        <p:spPr>
          <a:xfrm>
            <a:off x="3043110" y="2001736"/>
            <a:ext cx="270026" cy="2822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Oval 69">
            <a:extLst>
              <a:ext uri="{FF2B5EF4-FFF2-40B4-BE49-F238E27FC236}">
                <a16:creationId xmlns:a16="http://schemas.microsoft.com/office/drawing/2014/main" id="{64A6B7CA-7330-4166-AAA0-54611CE64EF8}"/>
              </a:ext>
            </a:extLst>
          </p:cNvPr>
          <p:cNvSpPr>
            <a:spLocks noChangeAspect="1"/>
          </p:cNvSpPr>
          <p:nvPr/>
        </p:nvSpPr>
        <p:spPr>
          <a:xfrm>
            <a:off x="2976817" y="4973150"/>
            <a:ext cx="873995" cy="828000"/>
          </a:xfrm>
          <a:prstGeom prst="ellipse">
            <a:avLst/>
          </a:prstGeom>
          <a:solidFill>
            <a:schemeClr val="bg2"/>
          </a:solidFill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100" dirty="0">
                <a:solidFill>
                  <a:schemeClr val="tx1"/>
                </a:solidFill>
              </a:rPr>
              <a:t>Requirements</a:t>
            </a:r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31B081B5-1A17-43E6-A60B-BE96E37B742C}"/>
              </a:ext>
            </a:extLst>
          </p:cNvPr>
          <p:cNvSpPr>
            <a:spLocks noChangeAspect="1"/>
          </p:cNvSpPr>
          <p:nvPr/>
        </p:nvSpPr>
        <p:spPr>
          <a:xfrm>
            <a:off x="3307616" y="5057819"/>
            <a:ext cx="180000" cy="174376"/>
          </a:xfrm>
          <a:prstGeom prst="ellipse">
            <a:avLst/>
          </a:prstGeom>
          <a:solidFill>
            <a:schemeClr val="accent3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2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0A44AD1-253D-4668-98BF-C2E609F60279}"/>
              </a:ext>
            </a:extLst>
          </p:cNvPr>
          <p:cNvSpPr/>
          <p:nvPr/>
        </p:nvSpPr>
        <p:spPr>
          <a:xfrm>
            <a:off x="1402148" y="4863822"/>
            <a:ext cx="1208123" cy="49595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RAFT requirements (including Complex Calculators and Models)</a:t>
            </a:r>
            <a:endParaRPr lang="en-GB" dirty="0">
              <a:solidFill>
                <a:schemeClr val="tx1"/>
              </a:solidFill>
            </a:endParaRP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06E9B8B0-B61D-4D0A-8D84-0DA88899290F}"/>
              </a:ext>
            </a:extLst>
          </p:cNvPr>
          <p:cNvCxnSpPr>
            <a:cxnSpLocks/>
            <a:stCxn id="73" idx="3"/>
            <a:endCxn id="70" idx="2"/>
          </p:cNvCxnSpPr>
          <p:nvPr/>
        </p:nvCxnSpPr>
        <p:spPr>
          <a:xfrm>
            <a:off x="2610271" y="5111801"/>
            <a:ext cx="366546" cy="2753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>
            <a:extLst>
              <a:ext uri="{FF2B5EF4-FFF2-40B4-BE49-F238E27FC236}">
                <a16:creationId xmlns:a16="http://schemas.microsoft.com/office/drawing/2014/main" id="{AF9727DB-C6B6-46AF-936A-BAA60139C0F0}"/>
              </a:ext>
            </a:extLst>
          </p:cNvPr>
          <p:cNvSpPr/>
          <p:nvPr/>
        </p:nvSpPr>
        <p:spPr>
          <a:xfrm>
            <a:off x="1391071" y="5399204"/>
            <a:ext cx="1219200" cy="5513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Other business requirements (e.g. Quants, Client Servicing etc)</a:t>
            </a:r>
            <a:endParaRPr lang="en-GB" dirty="0">
              <a:solidFill>
                <a:schemeClr val="tx1"/>
              </a:solidFill>
            </a:endParaRP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3E00024C-149E-4029-A81E-2C57D6541244}"/>
              </a:ext>
            </a:extLst>
          </p:cNvPr>
          <p:cNvCxnSpPr>
            <a:cxnSpLocks/>
            <a:stCxn id="78" idx="3"/>
            <a:endCxn id="70" idx="2"/>
          </p:cNvCxnSpPr>
          <p:nvPr/>
        </p:nvCxnSpPr>
        <p:spPr>
          <a:xfrm flipV="1">
            <a:off x="2610271" y="5387150"/>
            <a:ext cx="366546" cy="2877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F0350BCD-335E-4B3B-824E-E4D3BB2D0638}"/>
              </a:ext>
            </a:extLst>
          </p:cNvPr>
          <p:cNvCxnSpPr>
            <a:cxnSpLocks/>
            <a:stCxn id="16" idx="4"/>
            <a:endCxn id="70" idx="0"/>
          </p:cNvCxnSpPr>
          <p:nvPr/>
        </p:nvCxnSpPr>
        <p:spPr>
          <a:xfrm rot="16200000" flipH="1">
            <a:off x="1719273" y="3278608"/>
            <a:ext cx="2557414" cy="83167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84">
            <a:extLst>
              <a:ext uri="{FF2B5EF4-FFF2-40B4-BE49-F238E27FC236}">
                <a16:creationId xmlns:a16="http://schemas.microsoft.com/office/drawing/2014/main" id="{A4D8C32E-82D7-4796-8114-060CCDDB1904}"/>
              </a:ext>
            </a:extLst>
          </p:cNvPr>
          <p:cNvSpPr>
            <a:spLocks noChangeAspect="1"/>
          </p:cNvSpPr>
          <p:nvPr/>
        </p:nvSpPr>
        <p:spPr>
          <a:xfrm>
            <a:off x="6201342" y="3129227"/>
            <a:ext cx="873995" cy="828000"/>
          </a:xfrm>
          <a:prstGeom prst="ellipse">
            <a:avLst/>
          </a:prstGeom>
          <a:solidFill>
            <a:schemeClr val="bg2"/>
          </a:solidFill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100" dirty="0">
                <a:solidFill>
                  <a:schemeClr val="tx1"/>
                </a:solidFill>
              </a:rPr>
              <a:t>MVP</a:t>
            </a:r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6B6E8A7B-BDD0-44AB-BFBF-00F62DA8C2A3}"/>
              </a:ext>
            </a:extLst>
          </p:cNvPr>
          <p:cNvSpPr>
            <a:spLocks noChangeAspect="1"/>
          </p:cNvSpPr>
          <p:nvPr/>
        </p:nvSpPr>
        <p:spPr>
          <a:xfrm>
            <a:off x="6548340" y="3235810"/>
            <a:ext cx="180000" cy="174376"/>
          </a:xfrm>
          <a:prstGeom prst="ellipse">
            <a:avLst/>
          </a:prstGeom>
          <a:solidFill>
            <a:schemeClr val="accent3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3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8A038AF9-DA0B-4D34-9EA3-A1C17412B878}"/>
              </a:ext>
            </a:extLst>
          </p:cNvPr>
          <p:cNvSpPr/>
          <p:nvPr/>
        </p:nvSpPr>
        <p:spPr>
          <a:xfrm>
            <a:off x="4089329" y="5131914"/>
            <a:ext cx="1219200" cy="272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Prioritised business requirements reviewed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68FDD42E-CD57-4079-9568-A13641F2E548}"/>
              </a:ext>
            </a:extLst>
          </p:cNvPr>
          <p:cNvSpPr/>
          <p:nvPr/>
        </p:nvSpPr>
        <p:spPr>
          <a:xfrm>
            <a:off x="4089329" y="5770114"/>
            <a:ext cx="1219200" cy="272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Technical requirements for prioritised set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0430859F-371A-43D3-9D2D-2B142E2A3816}"/>
              </a:ext>
            </a:extLst>
          </p:cNvPr>
          <p:cNvSpPr/>
          <p:nvPr/>
        </p:nvSpPr>
        <p:spPr>
          <a:xfrm>
            <a:off x="4088169" y="5446516"/>
            <a:ext cx="1219200" cy="272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Functional requirements for prioritised set</a:t>
            </a:r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E88AD407-DB24-42A7-8786-5FC8E69A0AF9}"/>
              </a:ext>
            </a:extLst>
          </p:cNvPr>
          <p:cNvCxnSpPr>
            <a:cxnSpLocks/>
            <a:stCxn id="70" idx="6"/>
            <a:endCxn id="88" idx="1"/>
          </p:cNvCxnSpPr>
          <p:nvPr/>
        </p:nvCxnSpPr>
        <p:spPr>
          <a:xfrm flipV="1">
            <a:off x="3850812" y="5267994"/>
            <a:ext cx="238517" cy="1191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440A25F4-84F9-4E51-8518-27DCCAB219F5}"/>
              </a:ext>
            </a:extLst>
          </p:cNvPr>
          <p:cNvCxnSpPr>
            <a:cxnSpLocks/>
            <a:stCxn id="70" idx="6"/>
            <a:endCxn id="90" idx="1"/>
          </p:cNvCxnSpPr>
          <p:nvPr/>
        </p:nvCxnSpPr>
        <p:spPr>
          <a:xfrm>
            <a:off x="3850812" y="5387150"/>
            <a:ext cx="237357" cy="1954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F8EF53EA-D08A-4684-9367-426309E1C097}"/>
              </a:ext>
            </a:extLst>
          </p:cNvPr>
          <p:cNvCxnSpPr>
            <a:cxnSpLocks/>
            <a:stCxn id="70" idx="6"/>
            <a:endCxn id="89" idx="1"/>
          </p:cNvCxnSpPr>
          <p:nvPr/>
        </p:nvCxnSpPr>
        <p:spPr>
          <a:xfrm>
            <a:off x="3850812" y="5387150"/>
            <a:ext cx="238517" cy="5190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Connector: Elbow 100">
            <a:extLst>
              <a:ext uri="{FF2B5EF4-FFF2-40B4-BE49-F238E27FC236}">
                <a16:creationId xmlns:a16="http://schemas.microsoft.com/office/drawing/2014/main" id="{C0C9225A-CE59-4678-8D6B-5FE361C416BF}"/>
              </a:ext>
            </a:extLst>
          </p:cNvPr>
          <p:cNvCxnSpPr>
            <a:cxnSpLocks/>
            <a:stCxn id="70" idx="7"/>
            <a:endCxn id="85" idx="2"/>
          </p:cNvCxnSpPr>
          <p:nvPr/>
        </p:nvCxnSpPr>
        <p:spPr>
          <a:xfrm rot="5400000" flipH="1" flipV="1">
            <a:off x="4186490" y="3079556"/>
            <a:ext cx="1551181" cy="247852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Oval 104">
            <a:extLst>
              <a:ext uri="{FF2B5EF4-FFF2-40B4-BE49-F238E27FC236}">
                <a16:creationId xmlns:a16="http://schemas.microsoft.com/office/drawing/2014/main" id="{59E38DB0-A8D2-4678-B75B-FDF19F139157}"/>
              </a:ext>
            </a:extLst>
          </p:cNvPr>
          <p:cNvSpPr>
            <a:spLocks noChangeAspect="1"/>
          </p:cNvSpPr>
          <p:nvPr/>
        </p:nvSpPr>
        <p:spPr>
          <a:xfrm>
            <a:off x="8687639" y="1501692"/>
            <a:ext cx="873995" cy="828000"/>
          </a:xfrm>
          <a:prstGeom prst="ellipse">
            <a:avLst/>
          </a:prstGeom>
          <a:solidFill>
            <a:schemeClr val="bg2"/>
          </a:solidFill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br>
              <a:rPr lang="en-GB" sz="1100" dirty="0">
                <a:solidFill>
                  <a:schemeClr val="tx1"/>
                </a:solidFill>
              </a:rPr>
            </a:br>
            <a:r>
              <a:rPr lang="en-GB" sz="1100" dirty="0">
                <a:solidFill>
                  <a:schemeClr val="tx1"/>
                </a:solidFill>
              </a:rPr>
              <a:t>Strategic </a:t>
            </a:r>
          </a:p>
          <a:p>
            <a:pPr algn="ctr"/>
            <a:r>
              <a:rPr lang="en-GB" sz="1100" dirty="0">
                <a:solidFill>
                  <a:schemeClr val="tx1"/>
                </a:solidFill>
              </a:rPr>
              <a:t>End solution</a:t>
            </a:r>
          </a:p>
          <a:p>
            <a:pPr algn="ctr"/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14ABAF38-5699-4563-917F-F655F9823349}"/>
              </a:ext>
            </a:extLst>
          </p:cNvPr>
          <p:cNvSpPr>
            <a:spLocks noChangeAspect="1"/>
          </p:cNvSpPr>
          <p:nvPr/>
        </p:nvSpPr>
        <p:spPr>
          <a:xfrm>
            <a:off x="9034636" y="1543059"/>
            <a:ext cx="180000" cy="174376"/>
          </a:xfrm>
          <a:prstGeom prst="ellipse">
            <a:avLst/>
          </a:prstGeom>
          <a:solidFill>
            <a:schemeClr val="accent3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4</a:t>
            </a:r>
          </a:p>
        </p:txBody>
      </p: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8C2EAEA1-0608-4848-9163-BED329081505}"/>
              </a:ext>
            </a:extLst>
          </p:cNvPr>
          <p:cNvCxnSpPr>
            <a:cxnSpLocks/>
            <a:stCxn id="85" idx="0"/>
            <a:endCxn id="105" idx="4"/>
          </p:cNvCxnSpPr>
          <p:nvPr/>
        </p:nvCxnSpPr>
        <p:spPr>
          <a:xfrm rot="5400000" flipH="1" flipV="1">
            <a:off x="7481721" y="1486312"/>
            <a:ext cx="799535" cy="2486297"/>
          </a:xfrm>
          <a:prstGeom prst="bentConnector3">
            <a:avLst>
              <a:gd name="adj1" fmla="val 5696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Rectangle 187">
            <a:extLst>
              <a:ext uri="{FF2B5EF4-FFF2-40B4-BE49-F238E27FC236}">
                <a16:creationId xmlns:a16="http://schemas.microsoft.com/office/drawing/2014/main" id="{DF5808B5-4260-4E8D-B44E-B1C3856B4918}"/>
              </a:ext>
            </a:extLst>
          </p:cNvPr>
          <p:cNvSpPr/>
          <p:nvPr/>
        </p:nvSpPr>
        <p:spPr>
          <a:xfrm>
            <a:off x="3159695" y="966069"/>
            <a:ext cx="1419497" cy="1946084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1E7687B6-2817-4C24-BF80-05455F0B5380}"/>
              </a:ext>
            </a:extLst>
          </p:cNvPr>
          <p:cNvSpPr txBox="1"/>
          <p:nvPr/>
        </p:nvSpPr>
        <p:spPr>
          <a:xfrm>
            <a:off x="3230688" y="992319"/>
            <a:ext cx="672378" cy="138499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9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88A34165-4A0F-49D5-A8DB-59D95C9EC3FC}"/>
              </a:ext>
            </a:extLst>
          </p:cNvPr>
          <p:cNvSpPr/>
          <p:nvPr/>
        </p:nvSpPr>
        <p:spPr>
          <a:xfrm>
            <a:off x="3993908" y="4564888"/>
            <a:ext cx="1403890" cy="216683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575B8F80-64A9-4857-9CEC-0FBFA7DB2831}"/>
              </a:ext>
            </a:extLst>
          </p:cNvPr>
          <p:cNvSpPr txBox="1"/>
          <p:nvPr/>
        </p:nvSpPr>
        <p:spPr>
          <a:xfrm>
            <a:off x="4064901" y="4626905"/>
            <a:ext cx="672378" cy="138499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9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10A5E3E1-2CEE-425C-8787-58C4471FEC80}"/>
              </a:ext>
            </a:extLst>
          </p:cNvPr>
          <p:cNvSpPr/>
          <p:nvPr/>
        </p:nvSpPr>
        <p:spPr>
          <a:xfrm>
            <a:off x="563384" y="1154940"/>
            <a:ext cx="1406609" cy="1527300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CE4F0366-C9DD-44D9-AE20-CB08E36DDD59}"/>
              </a:ext>
            </a:extLst>
          </p:cNvPr>
          <p:cNvSpPr txBox="1"/>
          <p:nvPr/>
        </p:nvSpPr>
        <p:spPr>
          <a:xfrm>
            <a:off x="610175" y="1147283"/>
            <a:ext cx="666274" cy="138499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9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BD101126-A977-4FE6-94E5-AB7C5B589769}"/>
              </a:ext>
            </a:extLst>
          </p:cNvPr>
          <p:cNvSpPr/>
          <p:nvPr/>
        </p:nvSpPr>
        <p:spPr>
          <a:xfrm>
            <a:off x="1308444" y="4306799"/>
            <a:ext cx="1406609" cy="169544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2308E7E6-C6E7-4AB8-84F7-9542F81564B1}"/>
              </a:ext>
            </a:extLst>
          </p:cNvPr>
          <p:cNvSpPr txBox="1"/>
          <p:nvPr/>
        </p:nvSpPr>
        <p:spPr>
          <a:xfrm>
            <a:off x="1364235" y="4331578"/>
            <a:ext cx="666274" cy="138499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900" b="1" dirty="0">
                <a:solidFill>
                  <a:schemeClr val="tx1"/>
                </a:solidFill>
              </a:rPr>
              <a:t>Inputs</a:t>
            </a:r>
          </a:p>
        </p:txBody>
      </p:sp>
      <p:cxnSp>
        <p:nvCxnSpPr>
          <p:cNvPr id="203" name="Connector: Elbow 202">
            <a:extLst>
              <a:ext uri="{FF2B5EF4-FFF2-40B4-BE49-F238E27FC236}">
                <a16:creationId xmlns:a16="http://schemas.microsoft.com/office/drawing/2014/main" id="{C9E4BE3A-5DB0-47BE-B251-40BF07C2A87E}"/>
              </a:ext>
            </a:extLst>
          </p:cNvPr>
          <p:cNvCxnSpPr>
            <a:cxnSpLocks/>
            <a:stCxn id="188" idx="2"/>
            <a:endCxn id="85" idx="1"/>
          </p:cNvCxnSpPr>
          <p:nvPr/>
        </p:nvCxnSpPr>
        <p:spPr>
          <a:xfrm rot="16200000" flipH="1">
            <a:off x="4930224" y="1851373"/>
            <a:ext cx="338332" cy="245989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Connector: Elbow 204">
            <a:extLst>
              <a:ext uri="{FF2B5EF4-FFF2-40B4-BE49-F238E27FC236}">
                <a16:creationId xmlns:a16="http://schemas.microsoft.com/office/drawing/2014/main" id="{82391C4A-E15C-4700-AA87-0BC309667973}"/>
              </a:ext>
            </a:extLst>
          </p:cNvPr>
          <p:cNvCxnSpPr>
            <a:cxnSpLocks/>
            <a:stCxn id="190" idx="0"/>
            <a:endCxn id="85" idx="3"/>
          </p:cNvCxnSpPr>
          <p:nvPr/>
        </p:nvCxnSpPr>
        <p:spPr>
          <a:xfrm rot="5400000" flipH="1" flipV="1">
            <a:off x="5148135" y="3383688"/>
            <a:ext cx="728919" cy="163348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Connector: Elbow 209">
            <a:extLst>
              <a:ext uri="{FF2B5EF4-FFF2-40B4-BE49-F238E27FC236}">
                <a16:creationId xmlns:a16="http://schemas.microsoft.com/office/drawing/2014/main" id="{50F16A65-9433-494D-ABCF-E3AAAD5B81E7}"/>
              </a:ext>
            </a:extLst>
          </p:cNvPr>
          <p:cNvCxnSpPr>
            <a:cxnSpLocks/>
            <a:stCxn id="50" idx="3"/>
            <a:endCxn id="105" idx="2"/>
          </p:cNvCxnSpPr>
          <p:nvPr/>
        </p:nvCxnSpPr>
        <p:spPr>
          <a:xfrm flipV="1">
            <a:off x="4509528" y="1915692"/>
            <a:ext cx="4178111" cy="4555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TextBox 215">
            <a:extLst>
              <a:ext uri="{FF2B5EF4-FFF2-40B4-BE49-F238E27FC236}">
                <a16:creationId xmlns:a16="http://schemas.microsoft.com/office/drawing/2014/main" id="{7E443D25-63FB-4A97-9110-86F9085F7CCC}"/>
              </a:ext>
            </a:extLst>
          </p:cNvPr>
          <p:cNvSpPr txBox="1"/>
          <p:nvPr/>
        </p:nvSpPr>
        <p:spPr>
          <a:xfrm>
            <a:off x="5548425" y="2853240"/>
            <a:ext cx="666274" cy="138499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900" b="1" dirty="0">
                <a:solidFill>
                  <a:schemeClr val="tx1"/>
                </a:solidFill>
              </a:rPr>
              <a:t>Input into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2A43C1F2-F803-46E3-A935-1C4482CF8B61}"/>
              </a:ext>
            </a:extLst>
          </p:cNvPr>
          <p:cNvSpPr txBox="1"/>
          <p:nvPr/>
        </p:nvSpPr>
        <p:spPr>
          <a:xfrm>
            <a:off x="5548425" y="4029800"/>
            <a:ext cx="666274" cy="276999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900" b="1" dirty="0">
                <a:solidFill>
                  <a:schemeClr val="tx1"/>
                </a:solidFill>
              </a:rPr>
              <a:t>Input into</a:t>
            </a:r>
          </a:p>
          <a:p>
            <a:endParaRPr lang="en-GB" sz="900" b="1" dirty="0">
              <a:solidFill>
                <a:schemeClr val="tx1"/>
              </a:solidFill>
            </a:endParaRP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25B0A584-2337-4729-94C5-09B952C1162D}"/>
              </a:ext>
            </a:extLst>
          </p:cNvPr>
          <p:cNvSpPr txBox="1"/>
          <p:nvPr/>
        </p:nvSpPr>
        <p:spPr>
          <a:xfrm>
            <a:off x="7951734" y="2485824"/>
            <a:ext cx="666274" cy="138499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900" b="1" dirty="0">
                <a:solidFill>
                  <a:schemeClr val="tx1"/>
                </a:solidFill>
              </a:rPr>
              <a:t>Input into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DA78BD87-C577-4379-ABE2-0D3FE151C103}"/>
              </a:ext>
            </a:extLst>
          </p:cNvPr>
          <p:cNvSpPr txBox="1"/>
          <p:nvPr/>
        </p:nvSpPr>
        <p:spPr>
          <a:xfrm>
            <a:off x="8021362" y="1701647"/>
            <a:ext cx="666274" cy="138499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900" b="1" dirty="0">
                <a:solidFill>
                  <a:schemeClr val="tx1"/>
                </a:solidFill>
              </a:rPr>
              <a:t>Input into</a:t>
            </a:r>
          </a:p>
        </p:txBody>
      </p:sp>
      <p:cxnSp>
        <p:nvCxnSpPr>
          <p:cNvPr id="220" name="Connector: Elbow 219">
            <a:extLst>
              <a:ext uri="{FF2B5EF4-FFF2-40B4-BE49-F238E27FC236}">
                <a16:creationId xmlns:a16="http://schemas.microsoft.com/office/drawing/2014/main" id="{A259951D-9C1F-46E4-A682-5857E2EBDC01}"/>
              </a:ext>
            </a:extLst>
          </p:cNvPr>
          <p:cNvCxnSpPr>
            <a:cxnSpLocks/>
            <a:stCxn id="190" idx="3"/>
            <a:endCxn id="105" idx="4"/>
          </p:cNvCxnSpPr>
          <p:nvPr/>
        </p:nvCxnSpPr>
        <p:spPr>
          <a:xfrm flipV="1">
            <a:off x="5397798" y="2329692"/>
            <a:ext cx="3726839" cy="331861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TextBox 223">
            <a:extLst>
              <a:ext uri="{FF2B5EF4-FFF2-40B4-BE49-F238E27FC236}">
                <a16:creationId xmlns:a16="http://schemas.microsoft.com/office/drawing/2014/main" id="{F24A4B31-10E4-477F-9573-C8FFF3EEE180}"/>
              </a:ext>
            </a:extLst>
          </p:cNvPr>
          <p:cNvSpPr txBox="1"/>
          <p:nvPr/>
        </p:nvSpPr>
        <p:spPr>
          <a:xfrm>
            <a:off x="9220883" y="3539764"/>
            <a:ext cx="666274" cy="138499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900" b="1" dirty="0">
                <a:solidFill>
                  <a:schemeClr val="tx1"/>
                </a:solidFill>
              </a:rPr>
              <a:t>Input into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C6011C47-99D7-4A12-99E1-3DF2AA0527E4}"/>
              </a:ext>
            </a:extLst>
          </p:cNvPr>
          <p:cNvSpPr txBox="1"/>
          <p:nvPr/>
        </p:nvSpPr>
        <p:spPr>
          <a:xfrm>
            <a:off x="5550296" y="3388417"/>
            <a:ext cx="666274" cy="276999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900" b="1" dirty="0">
                <a:solidFill>
                  <a:schemeClr val="tx1"/>
                </a:solidFill>
              </a:rPr>
              <a:t>Input into</a:t>
            </a:r>
          </a:p>
          <a:p>
            <a:endParaRPr lang="en-GB" sz="900" b="1" dirty="0">
              <a:solidFill>
                <a:schemeClr val="tx1"/>
              </a:solidFill>
            </a:endParaRP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34147CF0-CC97-4C5A-B02D-772BB7D9BE8E}"/>
              </a:ext>
            </a:extLst>
          </p:cNvPr>
          <p:cNvSpPr/>
          <p:nvPr/>
        </p:nvSpPr>
        <p:spPr>
          <a:xfrm>
            <a:off x="3290328" y="2475064"/>
            <a:ext cx="1219200" cy="36142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Align to vision, lessons learnt so far and agree ways of working</a:t>
            </a: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F26BD542-2DA9-4CE0-AB9F-B57B37F4AE3D}"/>
              </a:ext>
            </a:extLst>
          </p:cNvPr>
          <p:cNvSpPr/>
          <p:nvPr/>
        </p:nvSpPr>
        <p:spPr>
          <a:xfrm>
            <a:off x="7414838" y="3103571"/>
            <a:ext cx="1219200" cy="272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Agreed bare bone “Must have” architecture</a:t>
            </a: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417839B7-8446-4A89-AFA7-F23E2668BE35}"/>
              </a:ext>
            </a:extLst>
          </p:cNvPr>
          <p:cNvSpPr/>
          <p:nvPr/>
        </p:nvSpPr>
        <p:spPr>
          <a:xfrm>
            <a:off x="7414838" y="4246879"/>
            <a:ext cx="1219200" cy="272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Enhance roadmap</a:t>
            </a: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7D54FC9C-0D4A-404E-89AB-2C47A7361014}"/>
              </a:ext>
            </a:extLst>
          </p:cNvPr>
          <p:cNvSpPr/>
          <p:nvPr/>
        </p:nvSpPr>
        <p:spPr>
          <a:xfrm>
            <a:off x="7413678" y="3418173"/>
            <a:ext cx="1219200" cy="272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Identify solution gaps</a:t>
            </a:r>
          </a:p>
        </p:txBody>
      </p:sp>
      <p:cxnSp>
        <p:nvCxnSpPr>
          <p:cNvPr id="247" name="Straight Arrow Connector 246">
            <a:extLst>
              <a:ext uri="{FF2B5EF4-FFF2-40B4-BE49-F238E27FC236}">
                <a16:creationId xmlns:a16="http://schemas.microsoft.com/office/drawing/2014/main" id="{25A0D2E8-CD93-4746-BD30-90979E1F5E43}"/>
              </a:ext>
            </a:extLst>
          </p:cNvPr>
          <p:cNvCxnSpPr>
            <a:cxnSpLocks/>
            <a:stCxn id="85" idx="6"/>
            <a:endCxn id="244" idx="1"/>
          </p:cNvCxnSpPr>
          <p:nvPr/>
        </p:nvCxnSpPr>
        <p:spPr>
          <a:xfrm flipV="1">
            <a:off x="7075337" y="3239651"/>
            <a:ext cx="339501" cy="3035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Straight Arrow Connector 247">
            <a:extLst>
              <a:ext uri="{FF2B5EF4-FFF2-40B4-BE49-F238E27FC236}">
                <a16:creationId xmlns:a16="http://schemas.microsoft.com/office/drawing/2014/main" id="{82944E32-8562-4420-96AF-DD7A0B6115A5}"/>
              </a:ext>
            </a:extLst>
          </p:cNvPr>
          <p:cNvCxnSpPr>
            <a:cxnSpLocks/>
            <a:stCxn id="85" idx="6"/>
            <a:endCxn id="246" idx="1"/>
          </p:cNvCxnSpPr>
          <p:nvPr/>
        </p:nvCxnSpPr>
        <p:spPr>
          <a:xfrm>
            <a:off x="7075337" y="3543227"/>
            <a:ext cx="338341" cy="110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Arrow Connector 248">
            <a:extLst>
              <a:ext uri="{FF2B5EF4-FFF2-40B4-BE49-F238E27FC236}">
                <a16:creationId xmlns:a16="http://schemas.microsoft.com/office/drawing/2014/main" id="{2F2A1216-61D4-470F-A8E5-47E7F0EF0347}"/>
              </a:ext>
            </a:extLst>
          </p:cNvPr>
          <p:cNvCxnSpPr>
            <a:cxnSpLocks/>
            <a:stCxn id="85" idx="6"/>
            <a:endCxn id="245" idx="1"/>
          </p:cNvCxnSpPr>
          <p:nvPr/>
        </p:nvCxnSpPr>
        <p:spPr>
          <a:xfrm>
            <a:off x="7075337" y="3543227"/>
            <a:ext cx="339501" cy="8397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0" name="Rectangle 249">
            <a:extLst>
              <a:ext uri="{FF2B5EF4-FFF2-40B4-BE49-F238E27FC236}">
                <a16:creationId xmlns:a16="http://schemas.microsoft.com/office/drawing/2014/main" id="{69DAC255-C7F5-4CC3-B7A2-6578BE349026}"/>
              </a:ext>
            </a:extLst>
          </p:cNvPr>
          <p:cNvSpPr/>
          <p:nvPr/>
        </p:nvSpPr>
        <p:spPr>
          <a:xfrm>
            <a:off x="7319417" y="2735326"/>
            <a:ext cx="1403890" cy="2128496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EEE6C3C7-4DC6-4A1C-829C-AEC86AF7C4C8}"/>
              </a:ext>
            </a:extLst>
          </p:cNvPr>
          <p:cNvSpPr txBox="1"/>
          <p:nvPr/>
        </p:nvSpPr>
        <p:spPr>
          <a:xfrm>
            <a:off x="7390410" y="2797342"/>
            <a:ext cx="672378" cy="138499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900" b="1" dirty="0">
                <a:solidFill>
                  <a:schemeClr val="tx1"/>
                </a:solidFill>
              </a:rPr>
              <a:t>Outputs</a:t>
            </a: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5638B914-FEAD-44E2-9864-B9C1B17013D3}"/>
              </a:ext>
            </a:extLst>
          </p:cNvPr>
          <p:cNvSpPr/>
          <p:nvPr/>
        </p:nvSpPr>
        <p:spPr>
          <a:xfrm>
            <a:off x="9954736" y="1466924"/>
            <a:ext cx="1219200" cy="272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Agreed strategic architecture</a:t>
            </a: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36C3A9CF-43B3-47C8-B1D1-0EE533A17B6C}"/>
              </a:ext>
            </a:extLst>
          </p:cNvPr>
          <p:cNvSpPr/>
          <p:nvPr/>
        </p:nvSpPr>
        <p:spPr>
          <a:xfrm>
            <a:off x="9954736" y="2105124"/>
            <a:ext cx="1219200" cy="272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Enhance roadmap</a:t>
            </a:r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AE320635-94CD-4F20-91AD-9E5687DAD4F9}"/>
              </a:ext>
            </a:extLst>
          </p:cNvPr>
          <p:cNvSpPr/>
          <p:nvPr/>
        </p:nvSpPr>
        <p:spPr>
          <a:xfrm>
            <a:off x="9953576" y="1781526"/>
            <a:ext cx="1219200" cy="272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Identify solution gaps</a:t>
            </a:r>
          </a:p>
        </p:txBody>
      </p:sp>
      <p:cxnSp>
        <p:nvCxnSpPr>
          <p:cNvPr id="259" name="Straight Arrow Connector 258">
            <a:extLst>
              <a:ext uri="{FF2B5EF4-FFF2-40B4-BE49-F238E27FC236}">
                <a16:creationId xmlns:a16="http://schemas.microsoft.com/office/drawing/2014/main" id="{D3C03901-218A-4659-9EBB-5C2D883F30F5}"/>
              </a:ext>
            </a:extLst>
          </p:cNvPr>
          <p:cNvCxnSpPr>
            <a:cxnSpLocks/>
            <a:stCxn id="105" idx="6"/>
            <a:endCxn id="256" idx="1"/>
          </p:cNvCxnSpPr>
          <p:nvPr/>
        </p:nvCxnSpPr>
        <p:spPr>
          <a:xfrm flipV="1">
            <a:off x="9561634" y="1603004"/>
            <a:ext cx="393102" cy="3126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Arrow Connector 259">
            <a:extLst>
              <a:ext uri="{FF2B5EF4-FFF2-40B4-BE49-F238E27FC236}">
                <a16:creationId xmlns:a16="http://schemas.microsoft.com/office/drawing/2014/main" id="{59EAF8E9-EABC-4A04-8767-ECE8D5FF6A6A}"/>
              </a:ext>
            </a:extLst>
          </p:cNvPr>
          <p:cNvCxnSpPr>
            <a:cxnSpLocks/>
            <a:stCxn id="105" idx="6"/>
            <a:endCxn id="258" idx="1"/>
          </p:cNvCxnSpPr>
          <p:nvPr/>
        </p:nvCxnSpPr>
        <p:spPr>
          <a:xfrm>
            <a:off x="9561634" y="1915692"/>
            <a:ext cx="391942" cy="19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Arrow Connector 260">
            <a:extLst>
              <a:ext uri="{FF2B5EF4-FFF2-40B4-BE49-F238E27FC236}">
                <a16:creationId xmlns:a16="http://schemas.microsoft.com/office/drawing/2014/main" id="{19A42FFB-0E3F-4770-A724-9BBB704E1C6F}"/>
              </a:ext>
            </a:extLst>
          </p:cNvPr>
          <p:cNvCxnSpPr>
            <a:cxnSpLocks/>
            <a:stCxn id="105" idx="6"/>
            <a:endCxn id="257" idx="1"/>
          </p:cNvCxnSpPr>
          <p:nvPr/>
        </p:nvCxnSpPr>
        <p:spPr>
          <a:xfrm>
            <a:off x="9561634" y="1915692"/>
            <a:ext cx="393102" cy="3255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Rectangle 266">
            <a:extLst>
              <a:ext uri="{FF2B5EF4-FFF2-40B4-BE49-F238E27FC236}">
                <a16:creationId xmlns:a16="http://schemas.microsoft.com/office/drawing/2014/main" id="{FB37EC69-5F3D-43CE-ABF7-8E41328179E9}"/>
              </a:ext>
            </a:extLst>
          </p:cNvPr>
          <p:cNvSpPr/>
          <p:nvPr/>
        </p:nvSpPr>
        <p:spPr>
          <a:xfrm>
            <a:off x="4090303" y="4822120"/>
            <a:ext cx="1219200" cy="272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Prioritised business requirements</a:t>
            </a:r>
          </a:p>
        </p:txBody>
      </p:sp>
      <p:cxnSp>
        <p:nvCxnSpPr>
          <p:cNvPr id="268" name="Straight Arrow Connector 267">
            <a:extLst>
              <a:ext uri="{FF2B5EF4-FFF2-40B4-BE49-F238E27FC236}">
                <a16:creationId xmlns:a16="http://schemas.microsoft.com/office/drawing/2014/main" id="{5C76F4CC-E449-4876-A674-E43BC29E24C3}"/>
              </a:ext>
            </a:extLst>
          </p:cNvPr>
          <p:cNvCxnSpPr>
            <a:cxnSpLocks/>
            <a:stCxn id="70" idx="6"/>
            <a:endCxn id="267" idx="1"/>
          </p:cNvCxnSpPr>
          <p:nvPr/>
        </p:nvCxnSpPr>
        <p:spPr>
          <a:xfrm flipV="1">
            <a:off x="3850812" y="4958200"/>
            <a:ext cx="239491" cy="4289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Rectangle 270">
            <a:extLst>
              <a:ext uri="{FF2B5EF4-FFF2-40B4-BE49-F238E27FC236}">
                <a16:creationId xmlns:a16="http://schemas.microsoft.com/office/drawing/2014/main" id="{887136D0-740C-4DD7-8909-FF4258BC6EC9}"/>
              </a:ext>
            </a:extLst>
          </p:cNvPr>
          <p:cNvSpPr/>
          <p:nvPr/>
        </p:nvSpPr>
        <p:spPr>
          <a:xfrm>
            <a:off x="1407199" y="4564891"/>
            <a:ext cx="1208123" cy="2572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RAFT 5658 – PRC report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689388FF-9E46-4F6F-97BA-C918A24244C6}"/>
              </a:ext>
            </a:extLst>
          </p:cNvPr>
          <p:cNvSpPr/>
          <p:nvPr/>
        </p:nvSpPr>
        <p:spPr>
          <a:xfrm>
            <a:off x="4090303" y="6395800"/>
            <a:ext cx="1219200" cy="272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Define roadmap</a:t>
            </a:r>
          </a:p>
        </p:txBody>
      </p:sp>
      <p:sp>
        <p:nvSpPr>
          <p:cNvPr id="278" name="Star: 5 Points 277">
            <a:extLst>
              <a:ext uri="{FF2B5EF4-FFF2-40B4-BE49-F238E27FC236}">
                <a16:creationId xmlns:a16="http://schemas.microsoft.com/office/drawing/2014/main" id="{251086AB-4A9B-416C-BD5C-FC9E2B50EB06}"/>
              </a:ext>
            </a:extLst>
          </p:cNvPr>
          <p:cNvSpPr/>
          <p:nvPr/>
        </p:nvSpPr>
        <p:spPr>
          <a:xfrm>
            <a:off x="3387885" y="4516059"/>
            <a:ext cx="327392" cy="275367"/>
          </a:xfrm>
          <a:prstGeom prst="star5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9" name="Star: 5 Points 278">
            <a:extLst>
              <a:ext uri="{FF2B5EF4-FFF2-40B4-BE49-F238E27FC236}">
                <a16:creationId xmlns:a16="http://schemas.microsoft.com/office/drawing/2014/main" id="{5690DA9B-46D6-4982-A519-D3AC2B982598}"/>
              </a:ext>
            </a:extLst>
          </p:cNvPr>
          <p:cNvSpPr/>
          <p:nvPr/>
        </p:nvSpPr>
        <p:spPr>
          <a:xfrm>
            <a:off x="6265734" y="2636786"/>
            <a:ext cx="327392" cy="275367"/>
          </a:xfrm>
          <a:prstGeom prst="star5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3F7D302-BB1A-3AD5-5F23-D55D0DF3DCF7}"/>
              </a:ext>
            </a:extLst>
          </p:cNvPr>
          <p:cNvSpPr txBox="1"/>
          <p:nvPr/>
        </p:nvSpPr>
        <p:spPr>
          <a:xfrm>
            <a:off x="3001707" y="4204010"/>
            <a:ext cx="1558600" cy="323165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1050" dirty="0">
                <a:solidFill>
                  <a:schemeClr val="tx1"/>
                </a:solidFill>
              </a:rPr>
              <a:t>Workshop (RAFT) to prioritize requiremen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9532C2C-9CBD-BC17-DDDD-561260692F3C}"/>
              </a:ext>
            </a:extLst>
          </p:cNvPr>
          <p:cNvSpPr txBox="1"/>
          <p:nvPr/>
        </p:nvSpPr>
        <p:spPr>
          <a:xfrm>
            <a:off x="6067473" y="2296526"/>
            <a:ext cx="1377632" cy="323165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1050" dirty="0">
                <a:solidFill>
                  <a:schemeClr val="tx1"/>
                </a:solidFill>
              </a:rPr>
              <a:t>Workshop (f2f) to agree MVP architecture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474CFB1-876F-82C8-3BE2-4E17F327ABEA}"/>
              </a:ext>
            </a:extLst>
          </p:cNvPr>
          <p:cNvSpPr/>
          <p:nvPr/>
        </p:nvSpPr>
        <p:spPr>
          <a:xfrm>
            <a:off x="4094962" y="6087120"/>
            <a:ext cx="1219200" cy="272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Agreed </a:t>
            </a:r>
            <a:r>
              <a:rPr lang="en-GB" sz="900" dirty="0" err="1">
                <a:solidFill>
                  <a:schemeClr val="tx1"/>
                </a:solidFill>
              </a:rPr>
              <a:t>req</a:t>
            </a:r>
            <a:r>
              <a:rPr lang="en-GB" sz="900" dirty="0">
                <a:solidFill>
                  <a:schemeClr val="tx1"/>
                </a:solidFill>
              </a:rPr>
              <a:t> deliverables, constraints, </a:t>
            </a:r>
            <a:r>
              <a:rPr lang="en-GB" sz="900" dirty="0" err="1">
                <a:solidFill>
                  <a:schemeClr val="tx1"/>
                </a:solidFill>
              </a:rPr>
              <a:t>req</a:t>
            </a:r>
            <a:r>
              <a:rPr lang="en-GB" sz="900" dirty="0">
                <a:solidFill>
                  <a:schemeClr val="tx1"/>
                </a:solidFill>
              </a:rPr>
              <a:t> owners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25804AF-ED55-7988-08CD-2454A2D6797F}"/>
              </a:ext>
            </a:extLst>
          </p:cNvPr>
          <p:cNvSpPr/>
          <p:nvPr/>
        </p:nvSpPr>
        <p:spPr>
          <a:xfrm>
            <a:off x="7414838" y="3743976"/>
            <a:ext cx="1219200" cy="46003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Agreed SL deliverables, tech constraints, owners, delivery team </a:t>
            </a:r>
          </a:p>
        </p:txBody>
      </p:sp>
      <p:sp>
        <p:nvSpPr>
          <p:cNvPr id="26" name="Speech Bubble: Rectangle 25">
            <a:extLst>
              <a:ext uri="{FF2B5EF4-FFF2-40B4-BE49-F238E27FC236}">
                <a16:creationId xmlns:a16="http://schemas.microsoft.com/office/drawing/2014/main" id="{64D6647D-8E69-1602-FE21-08A50D98353F}"/>
              </a:ext>
            </a:extLst>
          </p:cNvPr>
          <p:cNvSpPr/>
          <p:nvPr/>
        </p:nvSpPr>
        <p:spPr>
          <a:xfrm>
            <a:off x="1141247" y="3674004"/>
            <a:ext cx="1285216" cy="429332"/>
          </a:xfrm>
          <a:prstGeom prst="wedgeRectCallout">
            <a:avLst>
              <a:gd name="adj1" fmla="val 95375"/>
              <a:gd name="adj2" fmla="val 80806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Attendees (TBD): Sandie, 2xArchitects, Lead developer(s)</a:t>
            </a:r>
            <a:endParaRPr lang="en-GB" sz="900" dirty="0">
              <a:solidFill>
                <a:schemeClr val="tx1"/>
              </a:solidFill>
            </a:endParaRPr>
          </a:p>
        </p:txBody>
      </p:sp>
      <p:sp>
        <p:nvSpPr>
          <p:cNvPr id="27" name="Speech Bubble: Rectangle 26">
            <a:extLst>
              <a:ext uri="{FF2B5EF4-FFF2-40B4-BE49-F238E27FC236}">
                <a16:creationId xmlns:a16="http://schemas.microsoft.com/office/drawing/2014/main" id="{EA99F635-43F1-766F-4DDC-194F81DDC761}"/>
              </a:ext>
            </a:extLst>
          </p:cNvPr>
          <p:cNvSpPr/>
          <p:nvPr/>
        </p:nvSpPr>
        <p:spPr>
          <a:xfrm>
            <a:off x="4855365" y="1344360"/>
            <a:ext cx="1285216" cy="429332"/>
          </a:xfrm>
          <a:prstGeom prst="wedgeRectCallout">
            <a:avLst>
              <a:gd name="adj1" fmla="val 39135"/>
              <a:gd name="adj2" fmla="val 172084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Attendees (TBD): IT Manager, Architects, Developers, Analyst</a:t>
            </a:r>
            <a:endParaRPr lang="en-GB" sz="900" dirty="0">
              <a:solidFill>
                <a:schemeClr val="tx1"/>
              </a:solidFill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7F22AFA6-6DBC-D584-0028-D96FFD98085B}"/>
              </a:ext>
            </a:extLst>
          </p:cNvPr>
          <p:cNvCxnSpPr>
            <a:cxnSpLocks/>
            <a:stCxn id="70" idx="6"/>
            <a:endCxn id="23" idx="1"/>
          </p:cNvCxnSpPr>
          <p:nvPr/>
        </p:nvCxnSpPr>
        <p:spPr>
          <a:xfrm>
            <a:off x="3850812" y="5387150"/>
            <a:ext cx="244150" cy="8360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Arrow Connector 226">
            <a:extLst>
              <a:ext uri="{FF2B5EF4-FFF2-40B4-BE49-F238E27FC236}">
                <a16:creationId xmlns:a16="http://schemas.microsoft.com/office/drawing/2014/main" id="{97C634D6-1ECB-103E-D676-2E5AD0B9F8F2}"/>
              </a:ext>
            </a:extLst>
          </p:cNvPr>
          <p:cNvCxnSpPr>
            <a:cxnSpLocks/>
            <a:stCxn id="70" idx="6"/>
            <a:endCxn id="274" idx="1"/>
          </p:cNvCxnSpPr>
          <p:nvPr/>
        </p:nvCxnSpPr>
        <p:spPr>
          <a:xfrm>
            <a:off x="3850812" y="5387150"/>
            <a:ext cx="239491" cy="11447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Rectangle 229">
            <a:extLst>
              <a:ext uri="{FF2B5EF4-FFF2-40B4-BE49-F238E27FC236}">
                <a16:creationId xmlns:a16="http://schemas.microsoft.com/office/drawing/2014/main" id="{AFE96B78-4221-F09F-BB7C-104B33FAB9C7}"/>
              </a:ext>
            </a:extLst>
          </p:cNvPr>
          <p:cNvSpPr/>
          <p:nvPr/>
        </p:nvSpPr>
        <p:spPr>
          <a:xfrm>
            <a:off x="11112137" y="95794"/>
            <a:ext cx="1445623" cy="1005090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Factor in Data Gov and </a:t>
            </a:r>
            <a:r>
              <a:rPr lang="en-US" sz="1000" dirty="0" err="1">
                <a:solidFill>
                  <a:schemeClr val="bg1"/>
                </a:solidFill>
              </a:rPr>
              <a:t>e.g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err="1">
                <a:solidFill>
                  <a:schemeClr val="bg1"/>
                </a:solidFill>
              </a:rPr>
              <a:t>Calibra</a:t>
            </a:r>
            <a:endParaRPr lang="en-US" sz="1000" dirty="0">
              <a:solidFill>
                <a:schemeClr val="bg1"/>
              </a:solidFill>
            </a:endParaRPr>
          </a:p>
          <a:p>
            <a:pPr algn="ctr"/>
            <a:endParaRPr lang="en-US" sz="1000" dirty="0">
              <a:solidFill>
                <a:schemeClr val="bg1"/>
              </a:solidFill>
            </a:endParaRPr>
          </a:p>
          <a:p>
            <a:pPr algn="ctr"/>
            <a:r>
              <a:rPr lang="en-US" sz="1000" dirty="0">
                <a:solidFill>
                  <a:schemeClr val="bg1"/>
                </a:solidFill>
              </a:rPr>
              <a:t>Anitha, Jamie, Chad, Roger</a:t>
            </a:r>
            <a:endParaRPr lang="en-GB" sz="1000" dirty="0">
              <a:solidFill>
                <a:schemeClr val="bg1"/>
              </a:solidFill>
            </a:endParaRPr>
          </a:p>
        </p:txBody>
      </p:sp>
      <p:cxnSp>
        <p:nvCxnSpPr>
          <p:cNvPr id="231" name="Straight Arrow Connector 230">
            <a:extLst>
              <a:ext uri="{FF2B5EF4-FFF2-40B4-BE49-F238E27FC236}">
                <a16:creationId xmlns:a16="http://schemas.microsoft.com/office/drawing/2014/main" id="{C5A38C59-9C8C-D801-1B87-DD08D0B4FC4E}"/>
              </a:ext>
            </a:extLst>
          </p:cNvPr>
          <p:cNvCxnSpPr>
            <a:cxnSpLocks/>
            <a:stCxn id="16" idx="6"/>
            <a:endCxn id="243" idx="1"/>
          </p:cNvCxnSpPr>
          <p:nvPr/>
        </p:nvCxnSpPr>
        <p:spPr>
          <a:xfrm>
            <a:off x="3019142" y="2001736"/>
            <a:ext cx="271186" cy="6540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Rectangle 233">
            <a:extLst>
              <a:ext uri="{FF2B5EF4-FFF2-40B4-BE49-F238E27FC236}">
                <a16:creationId xmlns:a16="http://schemas.microsoft.com/office/drawing/2014/main" id="{5689E08B-32F0-35ED-B4C0-FC0F284243A4}"/>
              </a:ext>
            </a:extLst>
          </p:cNvPr>
          <p:cNvSpPr/>
          <p:nvPr/>
        </p:nvSpPr>
        <p:spPr>
          <a:xfrm>
            <a:off x="7411762" y="4549960"/>
            <a:ext cx="1219200" cy="272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GB" sz="900" dirty="0">
                <a:solidFill>
                  <a:schemeClr val="tx1"/>
                </a:solidFill>
              </a:rPr>
              <a:t>Data Governance</a:t>
            </a:r>
          </a:p>
        </p:txBody>
      </p:sp>
    </p:spTree>
    <p:extLst>
      <p:ext uri="{BB962C8B-B14F-4D97-AF65-F5344CB8AC3E}">
        <p14:creationId xmlns:p14="http://schemas.microsoft.com/office/powerpoint/2010/main" val="14150947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623223" y="510005"/>
            <a:ext cx="11045750" cy="360000"/>
          </a:xfrm>
        </p:spPr>
        <p:txBody>
          <a:bodyPr/>
          <a:lstStyle/>
          <a:p>
            <a:r>
              <a:rPr lang="en-GB" dirty="0"/>
              <a:t>High Level Plan v0.1 </a:t>
            </a: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D5C079BE-2EAB-40D0-9F3C-3DB0ABB410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4352715"/>
              </p:ext>
            </p:extLst>
          </p:nvPr>
        </p:nvGraphicFramePr>
        <p:xfrm>
          <a:off x="309262" y="911357"/>
          <a:ext cx="11579819" cy="5273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8296">
                  <a:extLst>
                    <a:ext uri="{9D8B030D-6E8A-4147-A177-3AD203B41FA5}">
                      <a16:colId xmlns:a16="http://schemas.microsoft.com/office/drawing/2014/main" val="2928142884"/>
                    </a:ext>
                  </a:extLst>
                </a:gridCol>
                <a:gridCol w="771276">
                  <a:extLst>
                    <a:ext uri="{9D8B030D-6E8A-4147-A177-3AD203B41FA5}">
                      <a16:colId xmlns:a16="http://schemas.microsoft.com/office/drawing/2014/main" val="776548341"/>
                    </a:ext>
                  </a:extLst>
                </a:gridCol>
                <a:gridCol w="2274912">
                  <a:extLst>
                    <a:ext uri="{9D8B030D-6E8A-4147-A177-3AD203B41FA5}">
                      <a16:colId xmlns:a16="http://schemas.microsoft.com/office/drawing/2014/main" val="3121368529"/>
                    </a:ext>
                  </a:extLst>
                </a:gridCol>
                <a:gridCol w="750485">
                  <a:extLst>
                    <a:ext uri="{9D8B030D-6E8A-4147-A177-3AD203B41FA5}">
                      <a16:colId xmlns:a16="http://schemas.microsoft.com/office/drawing/2014/main" val="3627727579"/>
                    </a:ext>
                  </a:extLst>
                </a:gridCol>
                <a:gridCol w="750485">
                  <a:extLst>
                    <a:ext uri="{9D8B030D-6E8A-4147-A177-3AD203B41FA5}">
                      <a16:colId xmlns:a16="http://schemas.microsoft.com/office/drawing/2014/main" val="243977732"/>
                    </a:ext>
                  </a:extLst>
                </a:gridCol>
                <a:gridCol w="750485">
                  <a:extLst>
                    <a:ext uri="{9D8B030D-6E8A-4147-A177-3AD203B41FA5}">
                      <a16:colId xmlns:a16="http://schemas.microsoft.com/office/drawing/2014/main" val="4261010875"/>
                    </a:ext>
                  </a:extLst>
                </a:gridCol>
                <a:gridCol w="750485">
                  <a:extLst>
                    <a:ext uri="{9D8B030D-6E8A-4147-A177-3AD203B41FA5}">
                      <a16:colId xmlns:a16="http://schemas.microsoft.com/office/drawing/2014/main" val="3305037542"/>
                    </a:ext>
                  </a:extLst>
                </a:gridCol>
                <a:gridCol w="750485">
                  <a:extLst>
                    <a:ext uri="{9D8B030D-6E8A-4147-A177-3AD203B41FA5}">
                      <a16:colId xmlns:a16="http://schemas.microsoft.com/office/drawing/2014/main" val="2924732843"/>
                    </a:ext>
                  </a:extLst>
                </a:gridCol>
                <a:gridCol w="750485">
                  <a:extLst>
                    <a:ext uri="{9D8B030D-6E8A-4147-A177-3AD203B41FA5}">
                      <a16:colId xmlns:a16="http://schemas.microsoft.com/office/drawing/2014/main" val="4111550057"/>
                    </a:ext>
                  </a:extLst>
                </a:gridCol>
                <a:gridCol w="750485">
                  <a:extLst>
                    <a:ext uri="{9D8B030D-6E8A-4147-A177-3AD203B41FA5}">
                      <a16:colId xmlns:a16="http://schemas.microsoft.com/office/drawing/2014/main" val="2325043180"/>
                    </a:ext>
                  </a:extLst>
                </a:gridCol>
                <a:gridCol w="750485">
                  <a:extLst>
                    <a:ext uri="{9D8B030D-6E8A-4147-A177-3AD203B41FA5}">
                      <a16:colId xmlns:a16="http://schemas.microsoft.com/office/drawing/2014/main" val="3676913002"/>
                    </a:ext>
                  </a:extLst>
                </a:gridCol>
                <a:gridCol w="750485">
                  <a:extLst>
                    <a:ext uri="{9D8B030D-6E8A-4147-A177-3AD203B41FA5}">
                      <a16:colId xmlns:a16="http://schemas.microsoft.com/office/drawing/2014/main" val="1237577858"/>
                    </a:ext>
                  </a:extLst>
                </a:gridCol>
                <a:gridCol w="750485">
                  <a:extLst>
                    <a:ext uri="{9D8B030D-6E8A-4147-A177-3AD203B41FA5}">
                      <a16:colId xmlns:a16="http://schemas.microsoft.com/office/drawing/2014/main" val="3701689203"/>
                    </a:ext>
                  </a:extLst>
                </a:gridCol>
                <a:gridCol w="750485">
                  <a:extLst>
                    <a:ext uri="{9D8B030D-6E8A-4147-A177-3AD203B41FA5}">
                      <a16:colId xmlns:a16="http://schemas.microsoft.com/office/drawing/2014/main" val="2374753572"/>
                    </a:ext>
                  </a:extLst>
                </a:gridCol>
              </a:tblGrid>
              <a:tr h="146769">
                <a:tc>
                  <a:txBody>
                    <a:bodyPr/>
                    <a:lstStyle/>
                    <a:p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#</a:t>
                      </a:r>
                    </a:p>
                  </a:txBody>
                  <a:tcPr marL="36000" marR="36000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Stage</a:t>
                      </a:r>
                    </a:p>
                  </a:txBody>
                  <a:tcPr marL="36000" marR="36000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Activity</a:t>
                      </a:r>
                    </a:p>
                  </a:txBody>
                  <a:tcPr marL="36000" marR="36000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w/c 04/10</a:t>
                      </a:r>
                    </a:p>
                  </a:txBody>
                  <a:tcPr marL="36000" marR="36000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w/c 10/1</a:t>
                      </a:r>
                    </a:p>
                  </a:txBody>
                  <a:tcPr marL="36000" marR="36000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w/c 17/24</a:t>
                      </a:r>
                    </a:p>
                  </a:txBody>
                  <a:tcPr marL="36000" marR="36000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w/c 24/10</a:t>
                      </a:r>
                    </a:p>
                  </a:txBody>
                  <a:tcPr marL="36000" marR="36000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w/c 31/10</a:t>
                      </a:r>
                    </a:p>
                  </a:txBody>
                  <a:tcPr marL="36000" marR="36000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w/c 7/11</a:t>
                      </a:r>
                    </a:p>
                  </a:txBody>
                  <a:tcPr marL="36000" marR="36000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w/c 14/11</a:t>
                      </a:r>
                    </a:p>
                  </a:txBody>
                  <a:tcPr marL="36000" marR="36000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21/11</a:t>
                      </a:r>
                    </a:p>
                  </a:txBody>
                  <a:tcPr marL="36000" marR="36000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w/c 28/11</a:t>
                      </a:r>
                    </a:p>
                  </a:txBody>
                  <a:tcPr marL="36000" marR="36000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w/c 05/12</a:t>
                      </a:r>
                    </a:p>
                  </a:txBody>
                  <a:tcPr marL="36000" marR="36000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Dec +</a:t>
                      </a:r>
                    </a:p>
                  </a:txBody>
                  <a:tcPr marL="36000" marR="36000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3182070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/>
                        <a:t>1.1</a:t>
                      </a:r>
                    </a:p>
                  </a:txBody>
                  <a:tcPr marL="36000" marR="36000"/>
                </a:tc>
                <a:tc rowSpan="7"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Vision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Obtain Data integration decision tree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4140748464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1.2</a:t>
                      </a:r>
                    </a:p>
                  </a:txBody>
                  <a:tcPr marL="36000" marR="36000"/>
                </a:tc>
                <a:tc vMerge="1"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r>
                        <a:rPr lang="en-GB" sz="800" dirty="0"/>
                        <a:t>Define Snowflake source and consumer systems/feeds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3763208744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1.3</a:t>
                      </a:r>
                    </a:p>
                  </a:txBody>
                  <a:tcPr marL="36000" marR="36000"/>
                </a:tc>
                <a:tc vMerge="1"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/>
                        <a:t>Define </a:t>
                      </a:r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Business goals/outcomes</a:t>
                      </a:r>
                    </a:p>
                  </a:txBody>
                  <a:tcPr marL="36000" marR="3600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1386267059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1.4</a:t>
                      </a:r>
                    </a:p>
                  </a:txBody>
                  <a:tcPr marL="36000" marR="36000"/>
                </a:tc>
                <a:tc vMerge="1"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Define Business/client users</a:t>
                      </a:r>
                    </a:p>
                  </a:txBody>
                  <a:tcPr marL="36000" marR="3600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836002403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1.5</a:t>
                      </a:r>
                    </a:p>
                  </a:txBody>
                  <a:tcPr marL="36000" marR="3600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Agree design principles for MVP solution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928721119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1.6</a:t>
                      </a:r>
                    </a:p>
                  </a:txBody>
                  <a:tcPr marL="36000" marR="36000"/>
                </a:tc>
                <a:tc vMerge="1"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Agree design principles for strategic solution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85950994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1.7</a:t>
                      </a:r>
                    </a:p>
                  </a:txBody>
                  <a:tcPr marL="36000" marR="36000"/>
                </a:tc>
                <a:tc vMerge="1">
                  <a:txBody>
                    <a:bodyPr/>
                    <a:lstStyle/>
                    <a:p>
                      <a:pPr algn="ctr"/>
                      <a:endParaRPr lang="en-GB" sz="9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r>
                        <a:rPr lang="en-GB" sz="800" dirty="0"/>
                        <a:t>Agree Vision and ways of working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1123787054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2.1</a:t>
                      </a:r>
                    </a:p>
                  </a:txBody>
                  <a:tcPr marL="36000" marR="36000"/>
                </a:tc>
                <a:tc rowSpan="9"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Requirements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Categorise RAFT requirements (tactical/strategic)</a:t>
                      </a:r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4194108120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2.2</a:t>
                      </a:r>
                    </a:p>
                  </a:txBody>
                  <a:tcPr marL="36000" marR="3600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800" dirty="0"/>
                        <a:t>Analysis of Complex Calculators and Models</a:t>
                      </a:r>
                    </a:p>
                  </a:txBody>
                  <a:tcPr marL="36000" marR="3600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1530808319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US" sz="800" dirty="0"/>
                        <a:t>2.3</a:t>
                      </a:r>
                      <a:endParaRPr lang="en-GB" sz="800" dirty="0"/>
                    </a:p>
                  </a:txBody>
                  <a:tcPr marL="36000" marR="3600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Investigate Feat-5658 and obtain lessons learned</a:t>
                      </a:r>
                      <a:endParaRPr lang="en-GB" sz="800" dirty="0"/>
                    </a:p>
                  </a:txBody>
                  <a:tcPr marL="36000" marR="3600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334322187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2.4</a:t>
                      </a:r>
                    </a:p>
                  </a:txBody>
                  <a:tcPr marL="36000" marR="36000"/>
                </a:tc>
                <a:tc vMerge="1"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r>
                        <a:rPr lang="en-GB" sz="800" dirty="0"/>
                        <a:t>Identify non RAFT requirements and owners</a:t>
                      </a:r>
                    </a:p>
                  </a:txBody>
                  <a:tcPr marL="36000" marR="3600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1277575212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2.5</a:t>
                      </a:r>
                    </a:p>
                  </a:txBody>
                  <a:tcPr marL="36000" marR="36000"/>
                </a:tc>
                <a:tc vMerge="1"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Prioritise RAFT business requirements (workshop)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3820918837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US" sz="800" dirty="0"/>
                        <a:t>2.6</a:t>
                      </a:r>
                      <a:endParaRPr lang="en-GB" sz="800" dirty="0"/>
                    </a:p>
                  </a:txBody>
                  <a:tcPr marL="36000" marR="3600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Prioritise Non RAFT business requirements (strategic)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200017602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2.7</a:t>
                      </a:r>
                    </a:p>
                  </a:txBody>
                  <a:tcPr marL="36000" marR="36000"/>
                </a:tc>
                <a:tc vMerge="1"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r>
                        <a:rPr lang="en-GB" sz="800" dirty="0"/>
                        <a:t>For RAFT priority requirements, review solution intent, owners,  problem, DoD, TAC etc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1136664818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2.8</a:t>
                      </a:r>
                    </a:p>
                  </a:txBody>
                  <a:tcPr marL="36000" marR="36000"/>
                </a:tc>
                <a:tc vMerge="1"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r>
                        <a:rPr lang="en-GB" sz="800" dirty="0"/>
                        <a:t>Develop functional requirements for prioritised </a:t>
                      </a:r>
                      <a:r>
                        <a:rPr lang="en-GB" sz="800" dirty="0" err="1"/>
                        <a:t>reqs</a:t>
                      </a:r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217382696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2.9</a:t>
                      </a:r>
                    </a:p>
                  </a:txBody>
                  <a:tcPr marL="36000" marR="36000"/>
                </a:tc>
                <a:tc vMerge="1"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/>
                        <a:t>Develop technical requirements for prioritised </a:t>
                      </a:r>
                      <a:r>
                        <a:rPr lang="en-GB" sz="800" dirty="0" err="1"/>
                        <a:t>reqs</a:t>
                      </a:r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4243350293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3.1</a:t>
                      </a:r>
                    </a:p>
                  </a:txBody>
                  <a:tcPr marL="36000" marR="36000"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MVP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Define and agree bare bone “Must have” architecture (workshop)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1277469561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3.2</a:t>
                      </a:r>
                    </a:p>
                  </a:txBody>
                  <a:tcPr marL="36000" marR="36000"/>
                </a:tc>
                <a:tc vMerge="1"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Identify solution gaps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4180099916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3.3</a:t>
                      </a:r>
                    </a:p>
                  </a:txBody>
                  <a:tcPr marL="36000" marR="36000"/>
                </a:tc>
                <a:tc vMerge="1"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Enhance roadmap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2764738177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4.1</a:t>
                      </a:r>
                    </a:p>
                  </a:txBody>
                  <a:tcPr marL="36000" marR="36000"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Strategic Solution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Define and agree strategic architecture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3664749136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4.2</a:t>
                      </a:r>
                    </a:p>
                  </a:txBody>
                  <a:tcPr marL="36000" marR="36000"/>
                </a:tc>
                <a:tc vMerge="1"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dentify solution gaps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2399595235"/>
                  </a:ext>
                </a:extLst>
              </a:tr>
              <a:tr h="146769">
                <a:tc>
                  <a:txBody>
                    <a:bodyPr/>
                    <a:lstStyle/>
                    <a:p>
                      <a:r>
                        <a:rPr lang="en-GB" sz="800" dirty="0"/>
                        <a:t>4.3</a:t>
                      </a:r>
                    </a:p>
                  </a:txBody>
                  <a:tcPr marL="36000" marR="36000"/>
                </a:tc>
                <a:tc vMerge="1"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hance roadmap</a:t>
                      </a: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378396489"/>
                  </a:ext>
                </a:extLst>
              </a:tr>
            </a:tbl>
          </a:graphicData>
        </a:graphic>
      </p:graphicFrame>
      <p:sp>
        <p:nvSpPr>
          <p:cNvPr id="3" name="Arrow: Pentagon 2">
            <a:extLst>
              <a:ext uri="{FF2B5EF4-FFF2-40B4-BE49-F238E27FC236}">
                <a16:creationId xmlns:a16="http://schemas.microsoft.com/office/drawing/2014/main" id="{BAD1433E-FC03-4514-84A2-10ECBE175E54}"/>
              </a:ext>
            </a:extLst>
          </p:cNvPr>
          <p:cNvSpPr/>
          <p:nvPr/>
        </p:nvSpPr>
        <p:spPr>
          <a:xfrm>
            <a:off x="3633745" y="1183378"/>
            <a:ext cx="756000" cy="103367"/>
          </a:xfrm>
          <a:prstGeom prst="homePlat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9" name="Arrow: Pentagon 68">
            <a:extLst>
              <a:ext uri="{FF2B5EF4-FFF2-40B4-BE49-F238E27FC236}">
                <a16:creationId xmlns:a16="http://schemas.microsoft.com/office/drawing/2014/main" id="{BC573E31-EC63-44E6-95D7-9851D317061D}"/>
              </a:ext>
            </a:extLst>
          </p:cNvPr>
          <p:cNvSpPr/>
          <p:nvPr/>
        </p:nvSpPr>
        <p:spPr>
          <a:xfrm>
            <a:off x="5145745" y="2591570"/>
            <a:ext cx="720000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5" name="Arrow: Pentagon 74">
            <a:extLst>
              <a:ext uri="{FF2B5EF4-FFF2-40B4-BE49-F238E27FC236}">
                <a16:creationId xmlns:a16="http://schemas.microsoft.com/office/drawing/2014/main" id="{499E7487-3CBB-49F9-8867-AF4BD22E2D1C}"/>
              </a:ext>
            </a:extLst>
          </p:cNvPr>
          <p:cNvSpPr/>
          <p:nvPr/>
        </p:nvSpPr>
        <p:spPr>
          <a:xfrm>
            <a:off x="4398221" y="2800308"/>
            <a:ext cx="1476000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Arrow: Pentagon 75">
            <a:extLst>
              <a:ext uri="{FF2B5EF4-FFF2-40B4-BE49-F238E27FC236}">
                <a16:creationId xmlns:a16="http://schemas.microsoft.com/office/drawing/2014/main" id="{AA46C72E-28CA-467C-9588-E7A1743C9698}"/>
              </a:ext>
            </a:extLst>
          </p:cNvPr>
          <p:cNvSpPr/>
          <p:nvPr/>
        </p:nvSpPr>
        <p:spPr>
          <a:xfrm>
            <a:off x="5882172" y="3647825"/>
            <a:ext cx="756000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7" name="Arrow: Pentagon 76">
            <a:extLst>
              <a:ext uri="{FF2B5EF4-FFF2-40B4-BE49-F238E27FC236}">
                <a16:creationId xmlns:a16="http://schemas.microsoft.com/office/drawing/2014/main" id="{04357FE6-5034-4E82-AD41-FEFE2C6EF787}"/>
              </a:ext>
            </a:extLst>
          </p:cNvPr>
          <p:cNvSpPr/>
          <p:nvPr/>
        </p:nvSpPr>
        <p:spPr>
          <a:xfrm>
            <a:off x="6630221" y="3877831"/>
            <a:ext cx="1116000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3" name="Arrow: Pentagon 92">
            <a:extLst>
              <a:ext uri="{FF2B5EF4-FFF2-40B4-BE49-F238E27FC236}">
                <a16:creationId xmlns:a16="http://schemas.microsoft.com/office/drawing/2014/main" id="{A7489A4D-ABF7-4675-BE9C-3D82FBE5A9F9}"/>
              </a:ext>
            </a:extLst>
          </p:cNvPr>
          <p:cNvSpPr/>
          <p:nvPr/>
        </p:nvSpPr>
        <p:spPr>
          <a:xfrm>
            <a:off x="6630221" y="4136947"/>
            <a:ext cx="2232000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5" name="Arrow: Pentagon 94">
            <a:extLst>
              <a:ext uri="{FF2B5EF4-FFF2-40B4-BE49-F238E27FC236}">
                <a16:creationId xmlns:a16="http://schemas.microsoft.com/office/drawing/2014/main" id="{E19A8C72-E3A0-4530-8D8E-7247327611CF}"/>
              </a:ext>
            </a:extLst>
          </p:cNvPr>
          <p:cNvSpPr/>
          <p:nvPr/>
        </p:nvSpPr>
        <p:spPr>
          <a:xfrm>
            <a:off x="7019835" y="4420614"/>
            <a:ext cx="4824000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6" name="Arrow: Pentagon 95">
            <a:extLst>
              <a:ext uri="{FF2B5EF4-FFF2-40B4-BE49-F238E27FC236}">
                <a16:creationId xmlns:a16="http://schemas.microsoft.com/office/drawing/2014/main" id="{65AC5C83-3672-4C5C-A316-690211916180}"/>
              </a:ext>
            </a:extLst>
          </p:cNvPr>
          <p:cNvSpPr/>
          <p:nvPr/>
        </p:nvSpPr>
        <p:spPr>
          <a:xfrm>
            <a:off x="7378969" y="4627228"/>
            <a:ext cx="4500000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C6D5A5A5-F2FB-9EAA-8CB0-128C134BEE31}"/>
              </a:ext>
            </a:extLst>
          </p:cNvPr>
          <p:cNvSpPr/>
          <p:nvPr/>
        </p:nvSpPr>
        <p:spPr>
          <a:xfrm>
            <a:off x="7746221" y="4915979"/>
            <a:ext cx="1116000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7161A279-D513-DE1C-92CE-D1A30C1E2A85}"/>
              </a:ext>
            </a:extLst>
          </p:cNvPr>
          <p:cNvSpPr/>
          <p:nvPr/>
        </p:nvSpPr>
        <p:spPr>
          <a:xfrm>
            <a:off x="8512632" y="5173311"/>
            <a:ext cx="1116000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525E5046-E3B9-51D4-1125-08F685D0844B}"/>
              </a:ext>
            </a:extLst>
          </p:cNvPr>
          <p:cNvSpPr/>
          <p:nvPr/>
        </p:nvSpPr>
        <p:spPr>
          <a:xfrm>
            <a:off x="9258461" y="5404516"/>
            <a:ext cx="1116000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0AED9C20-11A9-BD69-7E17-753711A07584}"/>
              </a:ext>
            </a:extLst>
          </p:cNvPr>
          <p:cNvSpPr/>
          <p:nvPr/>
        </p:nvSpPr>
        <p:spPr>
          <a:xfrm>
            <a:off x="9628632" y="5607735"/>
            <a:ext cx="1116000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BF16D3E0-D7FB-4581-BB37-D9BA2361A7C6}"/>
              </a:ext>
            </a:extLst>
          </p:cNvPr>
          <p:cNvSpPr/>
          <p:nvPr/>
        </p:nvSpPr>
        <p:spPr>
          <a:xfrm>
            <a:off x="10015961" y="5821522"/>
            <a:ext cx="1453227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197E22B4-F770-0371-40A7-774038C1CDC9}"/>
              </a:ext>
            </a:extLst>
          </p:cNvPr>
          <p:cNvSpPr/>
          <p:nvPr/>
        </p:nvSpPr>
        <p:spPr>
          <a:xfrm>
            <a:off x="10903130" y="6035309"/>
            <a:ext cx="986533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1A01EF-F1EA-C55C-4F64-F250C192FDB2}"/>
              </a:ext>
            </a:extLst>
          </p:cNvPr>
          <p:cNvSpPr/>
          <p:nvPr/>
        </p:nvSpPr>
        <p:spPr>
          <a:xfrm>
            <a:off x="8673737" y="165463"/>
            <a:ext cx="383177" cy="1591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2B93E9A-1216-8BBC-0AD7-90F8AFFB9743}"/>
              </a:ext>
            </a:extLst>
          </p:cNvPr>
          <p:cNvSpPr txBox="1"/>
          <p:nvPr/>
        </p:nvSpPr>
        <p:spPr>
          <a:xfrm>
            <a:off x="9169205" y="162165"/>
            <a:ext cx="2410512" cy="184666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Activities to focus on NL visit 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585D527-B621-B947-2367-5B0BE511B3AB}"/>
              </a:ext>
            </a:extLst>
          </p:cNvPr>
          <p:cNvSpPr/>
          <p:nvPr/>
        </p:nvSpPr>
        <p:spPr>
          <a:xfrm>
            <a:off x="4389745" y="1183378"/>
            <a:ext cx="234506" cy="5001019"/>
          </a:xfrm>
          <a:prstGeom prst="rect">
            <a:avLst/>
          </a:prstGeom>
          <a:pattFill prst="dkUp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" name="Arrow: Pentagon 91">
            <a:extLst>
              <a:ext uri="{FF2B5EF4-FFF2-40B4-BE49-F238E27FC236}">
                <a16:creationId xmlns:a16="http://schemas.microsoft.com/office/drawing/2014/main" id="{480DE4C1-7F27-4F38-8AC5-918361249CC0}"/>
              </a:ext>
            </a:extLst>
          </p:cNvPr>
          <p:cNvSpPr/>
          <p:nvPr/>
        </p:nvSpPr>
        <p:spPr>
          <a:xfrm>
            <a:off x="4389745" y="3015193"/>
            <a:ext cx="1476000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1" name="Arrow: Pentagon 70">
            <a:extLst>
              <a:ext uri="{FF2B5EF4-FFF2-40B4-BE49-F238E27FC236}">
                <a16:creationId xmlns:a16="http://schemas.microsoft.com/office/drawing/2014/main" id="{C5A21E1B-AA4E-4F5F-B573-F2DBCA68AA2E}"/>
              </a:ext>
            </a:extLst>
          </p:cNvPr>
          <p:cNvSpPr/>
          <p:nvPr/>
        </p:nvSpPr>
        <p:spPr>
          <a:xfrm>
            <a:off x="4398221" y="3435805"/>
            <a:ext cx="2232000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7" name="Arrow: Pentagon 66">
            <a:extLst>
              <a:ext uri="{FF2B5EF4-FFF2-40B4-BE49-F238E27FC236}">
                <a16:creationId xmlns:a16="http://schemas.microsoft.com/office/drawing/2014/main" id="{750D7AC4-3244-4599-947C-EE5E7BAC2CC1}"/>
              </a:ext>
            </a:extLst>
          </p:cNvPr>
          <p:cNvSpPr/>
          <p:nvPr/>
        </p:nvSpPr>
        <p:spPr>
          <a:xfrm>
            <a:off x="4624251" y="2371416"/>
            <a:ext cx="1241494" cy="111501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Arrow: Pentagon 67">
            <a:extLst>
              <a:ext uri="{FF2B5EF4-FFF2-40B4-BE49-F238E27FC236}">
                <a16:creationId xmlns:a16="http://schemas.microsoft.com/office/drawing/2014/main" id="{0F3A4C0E-3135-4391-9474-49381C87A630}"/>
              </a:ext>
            </a:extLst>
          </p:cNvPr>
          <p:cNvSpPr/>
          <p:nvPr/>
        </p:nvSpPr>
        <p:spPr>
          <a:xfrm>
            <a:off x="4624251" y="2149245"/>
            <a:ext cx="1241494" cy="122646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Arrow: Pentagon 81">
            <a:extLst>
              <a:ext uri="{FF2B5EF4-FFF2-40B4-BE49-F238E27FC236}">
                <a16:creationId xmlns:a16="http://schemas.microsoft.com/office/drawing/2014/main" id="{BF4260A2-AB8C-4D99-A01E-193034E18C5A}"/>
              </a:ext>
            </a:extLst>
          </p:cNvPr>
          <p:cNvSpPr/>
          <p:nvPr/>
        </p:nvSpPr>
        <p:spPr>
          <a:xfrm>
            <a:off x="3633745" y="1447096"/>
            <a:ext cx="1152000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4" name="Arrow: Pentagon 83">
            <a:extLst>
              <a:ext uri="{FF2B5EF4-FFF2-40B4-BE49-F238E27FC236}">
                <a16:creationId xmlns:a16="http://schemas.microsoft.com/office/drawing/2014/main" id="{50A05750-2647-42CB-A0DD-AF76661453EF}"/>
              </a:ext>
            </a:extLst>
          </p:cNvPr>
          <p:cNvSpPr/>
          <p:nvPr/>
        </p:nvSpPr>
        <p:spPr>
          <a:xfrm>
            <a:off x="4389745" y="1725622"/>
            <a:ext cx="756000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7" name="Arrow: Pentagon 86">
            <a:extLst>
              <a:ext uri="{FF2B5EF4-FFF2-40B4-BE49-F238E27FC236}">
                <a16:creationId xmlns:a16="http://schemas.microsoft.com/office/drawing/2014/main" id="{65833C5A-0EA0-4477-ADFB-F724D2496A62}"/>
              </a:ext>
            </a:extLst>
          </p:cNvPr>
          <p:cNvSpPr/>
          <p:nvPr/>
        </p:nvSpPr>
        <p:spPr>
          <a:xfrm>
            <a:off x="4389745" y="1952464"/>
            <a:ext cx="756000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1BB196A1-4096-A2E9-A32E-02108298227A}"/>
              </a:ext>
            </a:extLst>
          </p:cNvPr>
          <p:cNvSpPr/>
          <p:nvPr/>
        </p:nvSpPr>
        <p:spPr>
          <a:xfrm>
            <a:off x="309262" y="6225349"/>
            <a:ext cx="570304" cy="122646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3F802E4-5B06-F07F-2EFB-C0624963EB6D}"/>
              </a:ext>
            </a:extLst>
          </p:cNvPr>
          <p:cNvSpPr txBox="1"/>
          <p:nvPr/>
        </p:nvSpPr>
        <p:spPr>
          <a:xfrm>
            <a:off x="1018902" y="6190512"/>
            <a:ext cx="570304" cy="169277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On track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0EED9A43-F8D4-B250-291E-D037AF08D0F5}"/>
              </a:ext>
            </a:extLst>
          </p:cNvPr>
          <p:cNvSpPr/>
          <p:nvPr/>
        </p:nvSpPr>
        <p:spPr>
          <a:xfrm>
            <a:off x="309262" y="6395881"/>
            <a:ext cx="570304" cy="122646"/>
          </a:xfrm>
          <a:prstGeom prst="homePlat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043FE9-746D-6B0C-9788-5A6A17C2E49E}"/>
              </a:ext>
            </a:extLst>
          </p:cNvPr>
          <p:cNvSpPr txBox="1"/>
          <p:nvPr/>
        </p:nvSpPr>
        <p:spPr>
          <a:xfrm>
            <a:off x="1018901" y="6387171"/>
            <a:ext cx="1105989" cy="169277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Completed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19" name="Arrow: Pentagon 18">
            <a:extLst>
              <a:ext uri="{FF2B5EF4-FFF2-40B4-BE49-F238E27FC236}">
                <a16:creationId xmlns:a16="http://schemas.microsoft.com/office/drawing/2014/main" id="{692CA5D5-2796-3282-6365-76FB52A08A53}"/>
              </a:ext>
            </a:extLst>
          </p:cNvPr>
          <p:cNvSpPr/>
          <p:nvPr/>
        </p:nvSpPr>
        <p:spPr>
          <a:xfrm>
            <a:off x="4389745" y="3223393"/>
            <a:ext cx="1492427" cy="10336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FC528D81-ACD1-E866-EF0C-BDEF32AAB838}"/>
              </a:ext>
            </a:extLst>
          </p:cNvPr>
          <p:cNvCxnSpPr>
            <a:cxnSpLocks/>
            <a:stCxn id="19" idx="3"/>
            <a:endCxn id="68" idx="3"/>
          </p:cNvCxnSpPr>
          <p:nvPr/>
        </p:nvCxnSpPr>
        <p:spPr>
          <a:xfrm flipH="1" flipV="1">
            <a:off x="5865745" y="2210568"/>
            <a:ext cx="16427" cy="1064509"/>
          </a:xfrm>
          <a:prstGeom prst="bentConnector3">
            <a:avLst>
              <a:gd name="adj1" fmla="val -139161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4B3D0AF9-6AA0-1BAE-FD81-F29FDE2F2B2C}"/>
              </a:ext>
            </a:extLst>
          </p:cNvPr>
          <p:cNvCxnSpPr>
            <a:cxnSpLocks/>
            <a:stCxn id="19" idx="3"/>
            <a:endCxn id="67" idx="3"/>
          </p:cNvCxnSpPr>
          <p:nvPr/>
        </p:nvCxnSpPr>
        <p:spPr>
          <a:xfrm flipH="1" flipV="1">
            <a:off x="5865745" y="2427167"/>
            <a:ext cx="16427" cy="847910"/>
          </a:xfrm>
          <a:prstGeom prst="bentConnector3">
            <a:avLst>
              <a:gd name="adj1" fmla="val -139161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620EDDB6-DDAC-E722-AB70-7841A906B78B}"/>
              </a:ext>
            </a:extLst>
          </p:cNvPr>
          <p:cNvSpPr/>
          <p:nvPr/>
        </p:nvSpPr>
        <p:spPr>
          <a:xfrm>
            <a:off x="11112137" y="95794"/>
            <a:ext cx="1445623" cy="63017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Factor in Data Gov and </a:t>
            </a:r>
            <a:r>
              <a:rPr lang="en-US" sz="1000" dirty="0" err="1">
                <a:solidFill>
                  <a:schemeClr val="bg1"/>
                </a:solidFill>
              </a:rPr>
              <a:t>e.g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err="1">
                <a:solidFill>
                  <a:schemeClr val="bg1"/>
                </a:solidFill>
              </a:rPr>
              <a:t>Calibra</a:t>
            </a:r>
            <a:endParaRPr lang="en-GB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9817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Semantic Layer Team: Current Hypothesis to be refined during workshops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DDC3B875-EC28-4F19-9424-F51D591D6B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5920962"/>
              </p:ext>
            </p:extLst>
          </p:nvPr>
        </p:nvGraphicFramePr>
        <p:xfrm>
          <a:off x="2871201" y="1638395"/>
          <a:ext cx="4612640" cy="45473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41" name="Diagram 140">
            <a:extLst>
              <a:ext uri="{FF2B5EF4-FFF2-40B4-BE49-F238E27FC236}">
                <a16:creationId xmlns:a16="http://schemas.microsoft.com/office/drawing/2014/main" id="{7778B451-57D5-4E04-BA42-8A90E3BE7BB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7681991"/>
              </p:ext>
            </p:extLst>
          </p:nvPr>
        </p:nvGraphicFramePr>
        <p:xfrm>
          <a:off x="7173960" y="1859724"/>
          <a:ext cx="2103846" cy="24732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1374E8E-6FCA-4DA4-B939-7522D4B05543}"/>
              </a:ext>
            </a:extLst>
          </p:cNvPr>
          <p:cNvCxnSpPr>
            <a:cxnSpLocks/>
          </p:cNvCxnSpPr>
          <p:nvPr/>
        </p:nvCxnSpPr>
        <p:spPr>
          <a:xfrm>
            <a:off x="5689876" y="2442379"/>
            <a:ext cx="2090057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2DB1F975-755F-4AB4-A393-CE6E2674E202}"/>
              </a:ext>
            </a:extLst>
          </p:cNvPr>
          <p:cNvCxnSpPr>
            <a:cxnSpLocks/>
          </p:cNvCxnSpPr>
          <p:nvPr/>
        </p:nvCxnSpPr>
        <p:spPr>
          <a:xfrm>
            <a:off x="5577026" y="3073452"/>
            <a:ext cx="1596934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89E23AA9-78CD-487B-8440-4E0DBA98A561}"/>
              </a:ext>
            </a:extLst>
          </p:cNvPr>
          <p:cNvGrpSpPr/>
          <p:nvPr/>
        </p:nvGrpSpPr>
        <p:grpSpPr>
          <a:xfrm>
            <a:off x="8780212" y="891724"/>
            <a:ext cx="951507" cy="475753"/>
            <a:chOff x="507" y="998741"/>
            <a:chExt cx="951507" cy="475753"/>
          </a:xfrm>
          <a:solidFill>
            <a:srgbClr val="78A22F"/>
          </a:solidFill>
        </p:grpSpPr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B527E908-8FE5-4E67-BA94-EE8DC2698961}"/>
                </a:ext>
              </a:extLst>
            </p:cNvPr>
            <p:cNvSpPr/>
            <p:nvPr/>
          </p:nvSpPr>
          <p:spPr>
            <a:xfrm>
              <a:off x="507" y="998741"/>
              <a:ext cx="951507" cy="475753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5560FDE6-CA17-4EBB-8ACF-2B5051953118}"/>
                </a:ext>
              </a:extLst>
            </p:cNvPr>
            <p:cNvSpPr txBox="1"/>
            <p:nvPr/>
          </p:nvSpPr>
          <p:spPr>
            <a:xfrm>
              <a:off x="507" y="998741"/>
              <a:ext cx="951507" cy="475753"/>
            </a:xfrm>
            <a:prstGeom prst="rect">
              <a:avLst/>
            </a:prstGeom>
            <a:solidFill>
              <a:schemeClr val="accent1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/>
            <a:p>
              <a:pPr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900" dirty="0"/>
                <a:t>CDO</a:t>
              </a:r>
            </a:p>
            <a:p>
              <a:pPr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900" dirty="0"/>
                <a:t>Lance Cameron</a:t>
              </a:r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82BFE5A5-86E2-4191-BC1D-1CBF7E6EF5B8}"/>
              </a:ext>
            </a:extLst>
          </p:cNvPr>
          <p:cNvGrpSpPr/>
          <p:nvPr/>
        </p:nvGrpSpPr>
        <p:grpSpPr>
          <a:xfrm>
            <a:off x="5892458" y="891724"/>
            <a:ext cx="966069" cy="490310"/>
            <a:chOff x="-14055" y="998741"/>
            <a:chExt cx="966069" cy="490310"/>
          </a:xfrm>
        </p:grpSpPr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61138077-D8A2-4816-B55B-BA21472C394A}"/>
                </a:ext>
              </a:extLst>
            </p:cNvPr>
            <p:cNvSpPr/>
            <p:nvPr/>
          </p:nvSpPr>
          <p:spPr>
            <a:xfrm>
              <a:off x="507" y="998741"/>
              <a:ext cx="951507" cy="475753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096B9B68-F6C4-4C81-B4C2-0F33918B17CB}"/>
                </a:ext>
              </a:extLst>
            </p:cNvPr>
            <p:cNvSpPr txBox="1"/>
            <p:nvPr/>
          </p:nvSpPr>
          <p:spPr>
            <a:xfrm>
              <a:off x="-14055" y="1013298"/>
              <a:ext cx="951507" cy="4757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/>
            <a:p>
              <a:pPr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900" dirty="0"/>
                <a:t>Nicole Sandig</a:t>
              </a:r>
            </a:p>
            <a:p>
              <a:pPr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900" dirty="0"/>
                <a:t>CTO / RAFT Steerco</a:t>
              </a:r>
            </a:p>
          </p:txBody>
        </p:sp>
      </p:grp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A31CDD8A-E134-41A0-8F88-8BA85A2617B6}"/>
              </a:ext>
            </a:extLst>
          </p:cNvPr>
          <p:cNvCxnSpPr>
            <a:cxnSpLocks/>
            <a:stCxn id="155" idx="3"/>
            <a:endCxn id="152" idx="1"/>
          </p:cNvCxnSpPr>
          <p:nvPr/>
        </p:nvCxnSpPr>
        <p:spPr>
          <a:xfrm flipV="1">
            <a:off x="6843965" y="1129601"/>
            <a:ext cx="1936247" cy="14557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" name="Elbow Connector 10">
            <a:extLst>
              <a:ext uri="{FF2B5EF4-FFF2-40B4-BE49-F238E27FC236}">
                <a16:creationId xmlns:a16="http://schemas.microsoft.com/office/drawing/2014/main" id="{4EC0FAB8-BCAA-47D5-9DC2-F5A27C22B3D1}"/>
              </a:ext>
            </a:extLst>
          </p:cNvPr>
          <p:cNvCxnSpPr>
            <a:cxnSpLocks/>
            <a:stCxn id="155" idx="2"/>
          </p:cNvCxnSpPr>
          <p:nvPr/>
        </p:nvCxnSpPr>
        <p:spPr>
          <a:xfrm rot="5400000">
            <a:off x="5762789" y="1233829"/>
            <a:ext cx="457219" cy="753628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Elbow Connector 157">
            <a:extLst>
              <a:ext uri="{FF2B5EF4-FFF2-40B4-BE49-F238E27FC236}">
                <a16:creationId xmlns:a16="http://schemas.microsoft.com/office/drawing/2014/main" id="{540ABB91-8C10-4AC5-AD98-169D20ADC930}"/>
              </a:ext>
            </a:extLst>
          </p:cNvPr>
          <p:cNvCxnSpPr>
            <a:cxnSpLocks/>
          </p:cNvCxnSpPr>
          <p:nvPr/>
        </p:nvCxnSpPr>
        <p:spPr>
          <a:xfrm>
            <a:off x="6368211" y="1837187"/>
            <a:ext cx="1857673" cy="450886"/>
          </a:xfrm>
          <a:prstGeom prst="bentConnector3">
            <a:avLst>
              <a:gd name="adj1" fmla="val 1001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21617F78-F119-4B1D-9DA0-61D199152E7A}"/>
              </a:ext>
            </a:extLst>
          </p:cNvPr>
          <p:cNvGrpSpPr/>
          <p:nvPr/>
        </p:nvGrpSpPr>
        <p:grpSpPr>
          <a:xfrm>
            <a:off x="2945036" y="3321071"/>
            <a:ext cx="951507" cy="475753"/>
            <a:chOff x="507" y="998741"/>
            <a:chExt cx="951507" cy="475753"/>
          </a:xfrm>
        </p:grpSpPr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4F64F1B9-1133-41FE-AA60-3A875C528D99}"/>
                </a:ext>
              </a:extLst>
            </p:cNvPr>
            <p:cNvSpPr/>
            <p:nvPr/>
          </p:nvSpPr>
          <p:spPr>
            <a:xfrm>
              <a:off x="507" y="998741"/>
              <a:ext cx="951507" cy="475753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3156C820-897F-4E8F-9AEB-76B9AC968150}"/>
                </a:ext>
              </a:extLst>
            </p:cNvPr>
            <p:cNvSpPr txBox="1"/>
            <p:nvPr/>
          </p:nvSpPr>
          <p:spPr>
            <a:xfrm>
              <a:off x="507" y="998741"/>
              <a:ext cx="951507" cy="4757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/>
            <a:p>
              <a:pPr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900" dirty="0"/>
                <a:t>Solution Architect</a:t>
              </a:r>
            </a:p>
            <a:p>
              <a:pPr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900" dirty="0"/>
                <a:t>Jamie de </a:t>
              </a:r>
              <a:r>
                <a:rPr lang="en-GB" sz="900" dirty="0" err="1"/>
                <a:t>Kruif</a:t>
              </a:r>
              <a:endParaRPr lang="en-GB" sz="900" dirty="0"/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BC95953A-BE2F-4A7A-88E5-9ED49752386F}"/>
              </a:ext>
            </a:extLst>
          </p:cNvPr>
          <p:cNvGrpSpPr/>
          <p:nvPr/>
        </p:nvGrpSpPr>
        <p:grpSpPr>
          <a:xfrm>
            <a:off x="10063152" y="2193315"/>
            <a:ext cx="951507" cy="475753"/>
            <a:chOff x="507" y="998741"/>
            <a:chExt cx="951507" cy="475753"/>
          </a:xfrm>
        </p:grpSpPr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6898D365-9FD3-464B-8F70-3863F2088D3C}"/>
                </a:ext>
              </a:extLst>
            </p:cNvPr>
            <p:cNvSpPr/>
            <p:nvPr/>
          </p:nvSpPr>
          <p:spPr>
            <a:xfrm>
              <a:off x="507" y="998741"/>
              <a:ext cx="951507" cy="475753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90C392DE-801E-49A2-9DDB-33E2EC8EB782}"/>
                </a:ext>
              </a:extLst>
            </p:cNvPr>
            <p:cNvSpPr txBox="1"/>
            <p:nvPr/>
          </p:nvSpPr>
          <p:spPr>
            <a:xfrm>
              <a:off x="507" y="998741"/>
              <a:ext cx="951507" cy="4757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/>
            <a:p>
              <a:pPr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900" dirty="0"/>
                <a:t>Product Management</a:t>
              </a:r>
            </a:p>
            <a:p>
              <a:pPr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900" dirty="0"/>
                <a:t>Sarah </a:t>
              </a:r>
              <a:r>
                <a:rPr lang="en-GB" sz="900" dirty="0" err="1"/>
                <a:t>Tjaden</a:t>
              </a:r>
              <a:endParaRPr lang="en-GB" sz="900" dirty="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BB660FC-7BFF-41B8-B101-583FE7B3495B}"/>
              </a:ext>
            </a:extLst>
          </p:cNvPr>
          <p:cNvGrpSpPr/>
          <p:nvPr/>
        </p:nvGrpSpPr>
        <p:grpSpPr>
          <a:xfrm>
            <a:off x="2603486" y="2227059"/>
            <a:ext cx="951507" cy="475753"/>
            <a:chOff x="507" y="998741"/>
            <a:chExt cx="951507" cy="475753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5C33F4F-7B2D-4729-9C4C-4B5FA50E77AD}"/>
                </a:ext>
              </a:extLst>
            </p:cNvPr>
            <p:cNvSpPr/>
            <p:nvPr/>
          </p:nvSpPr>
          <p:spPr>
            <a:xfrm>
              <a:off x="507" y="998741"/>
              <a:ext cx="951507" cy="475753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96F6CB8-A16A-4E02-BC66-14EAC976603B}"/>
                </a:ext>
              </a:extLst>
            </p:cNvPr>
            <p:cNvSpPr txBox="1"/>
            <p:nvPr/>
          </p:nvSpPr>
          <p:spPr>
            <a:xfrm>
              <a:off x="507" y="998741"/>
              <a:ext cx="951507" cy="4757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/>
            <a:p>
              <a:pPr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900" dirty="0"/>
                <a:t>Miguel Pereira</a:t>
              </a:r>
            </a:p>
            <a:p>
              <a:pPr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900" dirty="0"/>
                <a:t>Lead Developer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05F8758-68B2-48F2-B8A4-81E02949EFE3}"/>
              </a:ext>
            </a:extLst>
          </p:cNvPr>
          <p:cNvGrpSpPr/>
          <p:nvPr/>
        </p:nvGrpSpPr>
        <p:grpSpPr>
          <a:xfrm>
            <a:off x="2945036" y="3912935"/>
            <a:ext cx="951507" cy="475753"/>
            <a:chOff x="507" y="998741"/>
            <a:chExt cx="951507" cy="475753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FCBA665B-BF20-4B03-A8DA-76D04D582AEA}"/>
                </a:ext>
              </a:extLst>
            </p:cNvPr>
            <p:cNvSpPr/>
            <p:nvPr/>
          </p:nvSpPr>
          <p:spPr>
            <a:xfrm>
              <a:off x="507" y="998741"/>
              <a:ext cx="951507" cy="475753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42F2CB8-15D9-4B24-8151-4ACC7A211D34}"/>
                </a:ext>
              </a:extLst>
            </p:cNvPr>
            <p:cNvSpPr txBox="1"/>
            <p:nvPr/>
          </p:nvSpPr>
          <p:spPr>
            <a:xfrm>
              <a:off x="507" y="998741"/>
              <a:ext cx="951507" cy="4757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/>
            <a:p>
              <a:pPr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900" dirty="0"/>
                <a:t>Snowflake Admin</a:t>
              </a:r>
            </a:p>
            <a:p>
              <a:pPr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900" dirty="0"/>
                <a:t>Chad Good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37F1353D-E04F-4A32-978D-C369A987A8FF}"/>
              </a:ext>
            </a:extLst>
          </p:cNvPr>
          <p:cNvSpPr txBox="1"/>
          <p:nvPr/>
        </p:nvSpPr>
        <p:spPr>
          <a:xfrm>
            <a:off x="7013576" y="4696273"/>
            <a:ext cx="2551611" cy="107722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pPr marL="228600" indent="-228600">
              <a:buFont typeface="+mj-lt"/>
              <a:buAutoNum type="arabicPeriod"/>
            </a:pPr>
            <a:endParaRPr lang="en-US" sz="7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1C4DBDB-EE79-4A5F-B988-57317A9F63E9}"/>
              </a:ext>
            </a:extLst>
          </p:cNvPr>
          <p:cNvGrpSpPr/>
          <p:nvPr/>
        </p:nvGrpSpPr>
        <p:grpSpPr>
          <a:xfrm>
            <a:off x="2945036" y="4502782"/>
            <a:ext cx="951507" cy="475753"/>
            <a:chOff x="507" y="998741"/>
            <a:chExt cx="951507" cy="475753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95067E7-616A-404E-A10E-651D56FF0477}"/>
                </a:ext>
              </a:extLst>
            </p:cNvPr>
            <p:cNvSpPr/>
            <p:nvPr/>
          </p:nvSpPr>
          <p:spPr>
            <a:xfrm>
              <a:off x="507" y="998741"/>
              <a:ext cx="951507" cy="475753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FEA77A1-B941-4D2F-8E91-27954F7851A8}"/>
                </a:ext>
              </a:extLst>
            </p:cNvPr>
            <p:cNvSpPr txBox="1"/>
            <p:nvPr/>
          </p:nvSpPr>
          <p:spPr>
            <a:xfrm>
              <a:off x="507" y="998741"/>
              <a:ext cx="951507" cy="4757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/>
            <a:p>
              <a:pPr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900" dirty="0"/>
                <a:t>Snowflake Admin</a:t>
              </a:r>
            </a:p>
            <a:p>
              <a:pPr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900" dirty="0" err="1"/>
                <a:t>Shrini</a:t>
              </a:r>
              <a:r>
                <a:rPr lang="en-GB" sz="900" dirty="0"/>
                <a:t> </a:t>
              </a:r>
              <a:r>
                <a:rPr lang="en-GB" sz="900" dirty="0" err="1"/>
                <a:t>Addagarla</a:t>
              </a:r>
              <a:endParaRPr lang="en-GB" sz="900" dirty="0"/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4490E74B-80BA-4EC4-A980-07F5A7F02BE0}"/>
              </a:ext>
            </a:extLst>
          </p:cNvPr>
          <p:cNvSpPr/>
          <p:nvPr/>
        </p:nvSpPr>
        <p:spPr>
          <a:xfrm>
            <a:off x="930303" y="6247796"/>
            <a:ext cx="811033" cy="4293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/>
              <a:t>In Plac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4BBDE19-960A-44DE-9ED0-B7BC590769C5}"/>
              </a:ext>
            </a:extLst>
          </p:cNvPr>
          <p:cNvSpPr/>
          <p:nvPr/>
        </p:nvSpPr>
        <p:spPr>
          <a:xfrm>
            <a:off x="1893736" y="6247796"/>
            <a:ext cx="811033" cy="42937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2"/>
                </a:solidFill>
              </a:rPr>
              <a:t>Potential Gap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8511810-7090-4623-9AFE-A7DE686E9D45}"/>
              </a:ext>
            </a:extLst>
          </p:cNvPr>
          <p:cNvSpPr txBox="1"/>
          <p:nvPr/>
        </p:nvSpPr>
        <p:spPr>
          <a:xfrm>
            <a:off x="436205" y="6354760"/>
            <a:ext cx="1614115" cy="215444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1400" dirty="0">
                <a:solidFill>
                  <a:schemeClr val="tx1"/>
                </a:solidFill>
              </a:rPr>
              <a:t>Key</a:t>
            </a:r>
            <a:endParaRPr lang="en-GB" sz="2000" dirty="0">
              <a:solidFill>
                <a:schemeClr val="tx1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F5DDD43-8032-4FCB-B7C2-8EE3D3021410}"/>
              </a:ext>
            </a:extLst>
          </p:cNvPr>
          <p:cNvSpPr txBox="1"/>
          <p:nvPr/>
        </p:nvSpPr>
        <p:spPr>
          <a:xfrm>
            <a:off x="6419727" y="4373446"/>
            <a:ext cx="540564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b="1" dirty="0">
                <a:solidFill>
                  <a:schemeClr val="tx2"/>
                </a:solidFill>
              </a:rPr>
              <a:t>Not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 dirty="0">
                <a:solidFill>
                  <a:schemeClr val="tx2"/>
                </a:solidFill>
              </a:rPr>
              <a:t>Potential Gaps are roles not resources </a:t>
            </a:r>
            <a:r>
              <a:rPr lang="en-GB" sz="1200" dirty="0">
                <a:solidFill>
                  <a:schemeClr val="tx2"/>
                </a:solidFill>
              </a:rPr>
              <a:t>– one resource may be able to cover multiple roles (existing resources might already be able to cover some of these role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2"/>
                </a:solidFill>
              </a:rPr>
              <a:t>This </a:t>
            </a:r>
            <a:r>
              <a:rPr lang="en-GB" sz="1200" b="1" dirty="0">
                <a:solidFill>
                  <a:schemeClr val="tx2"/>
                </a:solidFill>
              </a:rPr>
              <a:t>initial hypothesis </a:t>
            </a:r>
            <a:r>
              <a:rPr lang="en-GB" sz="1200" dirty="0">
                <a:solidFill>
                  <a:schemeClr val="tx2"/>
                </a:solidFill>
              </a:rPr>
              <a:t>will be reviewed and refined in workshops with both architects and developers over the next days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357B594-6682-4A81-8E42-510728271ED1}"/>
              </a:ext>
            </a:extLst>
          </p:cNvPr>
          <p:cNvCxnSpPr>
            <a:cxnSpLocks/>
            <a:endCxn id="189" idx="1"/>
          </p:cNvCxnSpPr>
          <p:nvPr/>
        </p:nvCxnSpPr>
        <p:spPr>
          <a:xfrm>
            <a:off x="8751845" y="2431192"/>
            <a:ext cx="1311307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2B574C4-8AB7-49B9-8073-9FC824B89E9C}"/>
              </a:ext>
            </a:extLst>
          </p:cNvPr>
          <p:cNvCxnSpPr>
            <a:cxnSpLocks/>
          </p:cNvCxnSpPr>
          <p:nvPr/>
        </p:nvCxnSpPr>
        <p:spPr>
          <a:xfrm flipH="1">
            <a:off x="3439886" y="3064071"/>
            <a:ext cx="1332411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6E92C6B-A170-4F86-BD6C-A010EB91C7B2}"/>
              </a:ext>
            </a:extLst>
          </p:cNvPr>
          <p:cNvCxnSpPr>
            <a:cxnSpLocks/>
            <a:endCxn id="36" idx="2"/>
          </p:cNvCxnSpPr>
          <p:nvPr/>
        </p:nvCxnSpPr>
        <p:spPr>
          <a:xfrm flipH="1">
            <a:off x="3420790" y="3073452"/>
            <a:ext cx="19096" cy="1905083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99F1C74-B051-4685-AF96-102B86A777EF}"/>
              </a:ext>
            </a:extLst>
          </p:cNvPr>
          <p:cNvGrpSpPr/>
          <p:nvPr/>
        </p:nvGrpSpPr>
        <p:grpSpPr>
          <a:xfrm>
            <a:off x="1599867" y="2227059"/>
            <a:ext cx="951507" cy="475753"/>
            <a:chOff x="507" y="998741"/>
            <a:chExt cx="951507" cy="475753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B834879C-E86F-48F0-9D14-43B01E381315}"/>
                </a:ext>
              </a:extLst>
            </p:cNvPr>
            <p:cNvSpPr/>
            <p:nvPr/>
          </p:nvSpPr>
          <p:spPr>
            <a:xfrm>
              <a:off x="507" y="998741"/>
              <a:ext cx="951507" cy="475753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8889AFC7-A95E-469F-B1D3-7606CBA881B5}"/>
                </a:ext>
              </a:extLst>
            </p:cNvPr>
            <p:cNvSpPr txBox="1"/>
            <p:nvPr/>
          </p:nvSpPr>
          <p:spPr>
            <a:xfrm>
              <a:off x="507" y="998741"/>
              <a:ext cx="951507" cy="4757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/>
            <a:p>
              <a:pPr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900" dirty="0"/>
                <a:t>Graham Hopper</a:t>
              </a:r>
            </a:p>
            <a:p>
              <a:pPr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900" dirty="0"/>
                <a:t>Lead Developer</a:t>
              </a:r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33AC5979-62F7-4908-A7C0-89A085B9A7C4}"/>
              </a:ext>
            </a:extLst>
          </p:cNvPr>
          <p:cNvSpPr/>
          <p:nvPr/>
        </p:nvSpPr>
        <p:spPr>
          <a:xfrm>
            <a:off x="1453046" y="2019839"/>
            <a:ext cx="2244125" cy="73761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5EE08E0-BFB3-4BB2-8AC5-6025E85AD91E}"/>
              </a:ext>
            </a:extLst>
          </p:cNvPr>
          <p:cNvSpPr txBox="1"/>
          <p:nvPr/>
        </p:nvSpPr>
        <p:spPr>
          <a:xfrm>
            <a:off x="1617059" y="2058540"/>
            <a:ext cx="958049" cy="123111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800" b="1" dirty="0">
                <a:solidFill>
                  <a:schemeClr val="tx1"/>
                </a:solidFill>
              </a:rPr>
              <a:t>SMEs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8B6EEFA2-F222-46E4-A748-7548112A0823}"/>
              </a:ext>
            </a:extLst>
          </p:cNvPr>
          <p:cNvCxnSpPr>
            <a:cxnSpLocks/>
          </p:cNvCxnSpPr>
          <p:nvPr/>
        </p:nvCxnSpPr>
        <p:spPr>
          <a:xfrm flipH="1">
            <a:off x="3697171" y="2442379"/>
            <a:ext cx="1056031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142FF1A8-B010-4795-9E79-34A90E230337}"/>
              </a:ext>
            </a:extLst>
          </p:cNvPr>
          <p:cNvSpPr/>
          <p:nvPr/>
        </p:nvSpPr>
        <p:spPr>
          <a:xfrm>
            <a:off x="4016998" y="1512893"/>
            <a:ext cx="2292184" cy="4609233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5FD5F7B-EC34-4995-9B84-29C9C437C9CA}"/>
              </a:ext>
            </a:extLst>
          </p:cNvPr>
          <p:cNvSpPr txBox="1"/>
          <p:nvPr/>
        </p:nvSpPr>
        <p:spPr>
          <a:xfrm>
            <a:off x="4065056" y="1553756"/>
            <a:ext cx="764181" cy="169277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1100" dirty="0">
                <a:solidFill>
                  <a:schemeClr val="tx1"/>
                </a:solidFill>
              </a:rPr>
              <a:t>Core team</a:t>
            </a:r>
          </a:p>
        </p:txBody>
      </p:sp>
    </p:spTree>
    <p:extLst>
      <p:ext uri="{BB962C8B-B14F-4D97-AF65-F5344CB8AC3E}">
        <p14:creationId xmlns:p14="http://schemas.microsoft.com/office/powerpoint/2010/main" val="19550704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550584" y="368300"/>
            <a:ext cx="11045750" cy="360000"/>
          </a:xfrm>
        </p:spPr>
        <p:txBody>
          <a:bodyPr/>
          <a:lstStyle/>
          <a:p>
            <a:r>
              <a:rPr lang="en-GB" dirty="0"/>
              <a:t>Semantic Layer Vision: A key next step is building out the next level of detail</a:t>
            </a:r>
            <a:br>
              <a:rPr lang="en-GB" dirty="0"/>
            </a:br>
            <a:endParaRPr lang="en-GB" dirty="0"/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889F42EA-D313-4B53-9D3F-9472F33310F2}"/>
              </a:ext>
            </a:extLst>
          </p:cNvPr>
          <p:cNvCxnSpPr>
            <a:cxnSpLocks/>
          </p:cNvCxnSpPr>
          <p:nvPr/>
        </p:nvCxnSpPr>
        <p:spPr>
          <a:xfrm>
            <a:off x="2914264" y="5261091"/>
            <a:ext cx="342852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40E8132D-0E3C-4AA2-80F2-61FA5C4B1BAE}"/>
              </a:ext>
            </a:extLst>
          </p:cNvPr>
          <p:cNvCxnSpPr>
            <a:cxnSpLocks/>
          </p:cNvCxnSpPr>
          <p:nvPr/>
        </p:nvCxnSpPr>
        <p:spPr>
          <a:xfrm>
            <a:off x="2905524" y="5052331"/>
            <a:ext cx="360333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A521BAF9-4191-4995-BBDD-0DF3DFC03D88}"/>
              </a:ext>
            </a:extLst>
          </p:cNvPr>
          <p:cNvSpPr/>
          <p:nvPr/>
        </p:nvSpPr>
        <p:spPr>
          <a:xfrm>
            <a:off x="3265856" y="3383316"/>
            <a:ext cx="6957047" cy="2044842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200" b="1">
                <a:solidFill>
                  <a:schemeClr val="tx1"/>
                </a:solidFill>
              </a:rPr>
              <a:t>ETL</a:t>
            </a:r>
            <a:endParaRPr lang="de-DE" sz="1200" b="1" dirty="0">
              <a:solidFill>
                <a:schemeClr val="tx1"/>
              </a:solidFill>
            </a:endParaRP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3FCD6D4C-3FB1-4E08-AC2C-F0496F5986DA}"/>
              </a:ext>
            </a:extLst>
          </p:cNvPr>
          <p:cNvCxnSpPr>
            <a:cxnSpLocks/>
          </p:cNvCxnSpPr>
          <p:nvPr/>
        </p:nvCxnSpPr>
        <p:spPr>
          <a:xfrm flipV="1">
            <a:off x="4488380" y="5428328"/>
            <a:ext cx="0" cy="49365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EFCDF1E9-6821-4D44-920C-D02D2E003916}"/>
              </a:ext>
            </a:extLst>
          </p:cNvPr>
          <p:cNvCxnSpPr>
            <a:cxnSpLocks/>
          </p:cNvCxnSpPr>
          <p:nvPr/>
        </p:nvCxnSpPr>
        <p:spPr>
          <a:xfrm flipV="1">
            <a:off x="6632627" y="5428328"/>
            <a:ext cx="0" cy="59062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9AF7A8FD-DB40-431C-A550-06050ACA026D}"/>
              </a:ext>
            </a:extLst>
          </p:cNvPr>
          <p:cNvCxnSpPr>
            <a:cxnSpLocks/>
          </p:cNvCxnSpPr>
          <p:nvPr/>
        </p:nvCxnSpPr>
        <p:spPr>
          <a:xfrm flipV="1">
            <a:off x="8832710" y="5428328"/>
            <a:ext cx="0" cy="50437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4B4CAEA3-49E9-451C-A895-1D64C31C1F2E}"/>
              </a:ext>
            </a:extLst>
          </p:cNvPr>
          <p:cNvSpPr/>
          <p:nvPr/>
        </p:nvSpPr>
        <p:spPr>
          <a:xfrm>
            <a:off x="5904199" y="5911461"/>
            <a:ext cx="1501292" cy="80338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67053"/>
            <a:r>
              <a:rPr lang="en-US" sz="1200" b="1" dirty="0">
                <a:solidFill>
                  <a:schemeClr val="tx1"/>
                </a:solidFill>
                <a:latin typeface="Calibri" panose="020F0502020204030204"/>
              </a:rPr>
              <a:t>Clearwater</a:t>
            </a:r>
          </a:p>
          <a:p>
            <a:pPr algn="ctr" defTabSz="567053"/>
            <a:r>
              <a:rPr lang="en-US" sz="1200" b="1" dirty="0">
                <a:solidFill>
                  <a:schemeClr val="tx1"/>
                </a:solidFill>
                <a:latin typeface="Calibri" panose="020F0502020204030204"/>
              </a:rPr>
              <a:t>ABOR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FDB3279-4487-4D1B-9B42-3C4715060186}"/>
              </a:ext>
            </a:extLst>
          </p:cNvPr>
          <p:cNvSpPr/>
          <p:nvPr/>
        </p:nvSpPr>
        <p:spPr>
          <a:xfrm>
            <a:off x="8082065" y="5911461"/>
            <a:ext cx="1501291" cy="80338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567053"/>
            <a:r>
              <a:rPr lang="en-US" sz="1200" b="1" dirty="0">
                <a:solidFill>
                  <a:schemeClr val="tx1"/>
                </a:solidFill>
                <a:latin typeface="Calibri" panose="020F0502020204030204"/>
              </a:rPr>
              <a:t>Other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07BD9E3-8D8B-430D-980B-44A31F77687C}"/>
              </a:ext>
            </a:extLst>
          </p:cNvPr>
          <p:cNvSpPr/>
          <p:nvPr/>
        </p:nvSpPr>
        <p:spPr>
          <a:xfrm>
            <a:off x="3737734" y="5914191"/>
            <a:ext cx="1501291" cy="80338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67053"/>
            <a:r>
              <a:rPr lang="en-US" sz="1200" b="1" dirty="0">
                <a:solidFill>
                  <a:schemeClr val="tx1"/>
                </a:solidFill>
                <a:latin typeface="Calibri" panose="020F0502020204030204"/>
              </a:rPr>
              <a:t>Aladdin Data Cloud</a:t>
            </a:r>
          </a:p>
          <a:p>
            <a:pPr algn="ctr" defTabSz="567053"/>
            <a:r>
              <a:rPr lang="en-US" sz="1200" b="1" dirty="0">
                <a:solidFill>
                  <a:schemeClr val="tx1"/>
                </a:solidFill>
                <a:latin typeface="Calibri" panose="020F0502020204030204"/>
              </a:rPr>
              <a:t>IBOR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AEF7FE6-C8E5-458B-9302-E2559E8213E6}"/>
              </a:ext>
            </a:extLst>
          </p:cNvPr>
          <p:cNvSpPr/>
          <p:nvPr/>
        </p:nvSpPr>
        <p:spPr>
          <a:xfrm>
            <a:off x="3324398" y="4957212"/>
            <a:ext cx="6814621" cy="3822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567053"/>
            <a:r>
              <a:rPr lang="en-US" sz="1200" dirty="0">
                <a:solidFill>
                  <a:prstClr val="white"/>
                </a:solidFill>
                <a:latin typeface="Calibri" panose="020F0502020204030204"/>
              </a:rPr>
              <a:t>Semantic Data Layer (Snowflake)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4485015A-1298-43EB-8B3E-DB799D1DE822}"/>
              </a:ext>
            </a:extLst>
          </p:cNvPr>
          <p:cNvSpPr/>
          <p:nvPr/>
        </p:nvSpPr>
        <p:spPr>
          <a:xfrm>
            <a:off x="5109667" y="2021829"/>
            <a:ext cx="1892894" cy="109124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567053"/>
            <a:r>
              <a:rPr lang="en-US" sz="1200" b="1" dirty="0">
                <a:solidFill>
                  <a:schemeClr val="tx1"/>
                </a:solidFill>
                <a:latin typeface="Calibri" panose="020F0502020204030204"/>
              </a:rPr>
              <a:t>Reporting</a:t>
            </a: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E17D945F-CE53-4E1F-A6E0-9D13257F2405}"/>
              </a:ext>
            </a:extLst>
          </p:cNvPr>
          <p:cNvCxnSpPr>
            <a:cxnSpLocks/>
          </p:cNvCxnSpPr>
          <p:nvPr/>
        </p:nvCxnSpPr>
        <p:spPr>
          <a:xfrm flipV="1">
            <a:off x="5782102" y="1620068"/>
            <a:ext cx="0" cy="40176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B8E219F-70F8-4C5B-A641-B7AFEEAA6BA0}"/>
              </a:ext>
            </a:extLst>
          </p:cNvPr>
          <p:cNvGrpSpPr/>
          <p:nvPr/>
        </p:nvGrpSpPr>
        <p:grpSpPr>
          <a:xfrm rot="16200000">
            <a:off x="4637457" y="-33217"/>
            <a:ext cx="735827" cy="2570741"/>
            <a:chOff x="10623436" y="1762125"/>
            <a:chExt cx="735827" cy="1819627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6BAEB05-688C-434E-A997-073042F1A50E}"/>
                </a:ext>
              </a:extLst>
            </p:cNvPr>
            <p:cNvGrpSpPr/>
            <p:nvPr/>
          </p:nvGrpSpPr>
          <p:grpSpPr>
            <a:xfrm>
              <a:off x="10651282" y="1974455"/>
              <a:ext cx="701999" cy="1102331"/>
              <a:chOff x="244925" y="2340309"/>
              <a:chExt cx="975416" cy="1236898"/>
            </a:xfrm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BCAB4F29-D5DA-4BD0-940B-0FF49A72D224}"/>
                  </a:ext>
                </a:extLst>
              </p:cNvPr>
              <p:cNvSpPr/>
              <p:nvPr/>
            </p:nvSpPr>
            <p:spPr>
              <a:xfrm rot="5400000">
                <a:off x="540671" y="2432628"/>
                <a:ext cx="771990" cy="58735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67053"/>
                <a:r>
                  <a:rPr lang="en-US" sz="1100" b="1" dirty="0">
                    <a:solidFill>
                      <a:schemeClr val="tx1"/>
                    </a:solidFill>
                    <a:latin typeface="Calibri" panose="020F0502020204030204"/>
                  </a:rPr>
                  <a:t>IBOR Consumers</a:t>
                </a:r>
              </a:p>
            </p:txBody>
          </p:sp>
          <p:pic>
            <p:nvPicPr>
              <p:cNvPr id="65" name="Graphic 64" descr="Group of men with solid fill">
                <a:extLst>
                  <a:ext uri="{FF2B5EF4-FFF2-40B4-BE49-F238E27FC236}">
                    <a16:creationId xmlns:a16="http://schemas.microsoft.com/office/drawing/2014/main" id="{A63774C2-C8FC-4E14-97A0-2EDBB8D61D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5400000">
                <a:off x="324530" y="3161871"/>
                <a:ext cx="335731" cy="494941"/>
              </a:xfrm>
              <a:prstGeom prst="rect">
                <a:avLst/>
              </a:prstGeom>
            </p:spPr>
          </p:pic>
        </p:grp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85A57FA8-AA8B-454B-9569-DFD1D9E1CE32}"/>
                </a:ext>
              </a:extLst>
            </p:cNvPr>
            <p:cNvSpPr/>
            <p:nvPr/>
          </p:nvSpPr>
          <p:spPr>
            <a:xfrm rot="5400000">
              <a:off x="10793638" y="2722043"/>
              <a:ext cx="688003" cy="44324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67053"/>
              <a:r>
                <a:rPr lang="en-US" sz="1100" b="1" dirty="0">
                  <a:solidFill>
                    <a:schemeClr val="tx1"/>
                  </a:solidFill>
                  <a:latin typeface="Calibri" panose="020F0502020204030204"/>
                </a:rPr>
                <a:t>ABOR Consumers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7E52D064-F687-4B26-ACFC-FF33165E85DF}"/>
                </a:ext>
              </a:extLst>
            </p:cNvPr>
            <p:cNvSpPr/>
            <p:nvPr/>
          </p:nvSpPr>
          <p:spPr>
            <a:xfrm>
              <a:off x="10623436" y="1762125"/>
              <a:ext cx="723579" cy="1819627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200" b="1">
                <a:solidFill>
                  <a:schemeClr val="tx1"/>
                </a:solidFill>
              </a:endParaRPr>
            </a:p>
          </p:txBody>
        </p:sp>
      </p:grpSp>
      <p:pic>
        <p:nvPicPr>
          <p:cNvPr id="74" name="Graphic 73" descr="User with solid fill">
            <a:extLst>
              <a:ext uri="{FF2B5EF4-FFF2-40B4-BE49-F238E27FC236}">
                <a16:creationId xmlns:a16="http://schemas.microsoft.com/office/drawing/2014/main" id="{A453A4B9-B638-435D-B372-197D0BCCC1A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66840" y="4558187"/>
            <a:ext cx="216000" cy="216000"/>
          </a:xfrm>
          <a:prstGeom prst="rect">
            <a:avLst/>
          </a:prstGeom>
        </p:spPr>
      </p:pic>
      <p:pic>
        <p:nvPicPr>
          <p:cNvPr id="106" name="Graphic 105" descr="User with solid fill">
            <a:extLst>
              <a:ext uri="{FF2B5EF4-FFF2-40B4-BE49-F238E27FC236}">
                <a16:creationId xmlns:a16="http://schemas.microsoft.com/office/drawing/2014/main" id="{10BE6609-D08D-4B3F-BA72-80D6F9470F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24262" y="4728619"/>
            <a:ext cx="216000" cy="216000"/>
          </a:xfrm>
          <a:prstGeom prst="rect">
            <a:avLst/>
          </a:prstGeom>
        </p:spPr>
      </p:pic>
      <p:pic>
        <p:nvPicPr>
          <p:cNvPr id="107" name="Graphic 106" descr="User with solid fill">
            <a:extLst>
              <a:ext uri="{FF2B5EF4-FFF2-40B4-BE49-F238E27FC236}">
                <a16:creationId xmlns:a16="http://schemas.microsoft.com/office/drawing/2014/main" id="{9A8FF02E-AC32-472E-8466-60D04F9FBF5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77071" y="4296291"/>
            <a:ext cx="216000" cy="216000"/>
          </a:xfrm>
          <a:prstGeom prst="rect">
            <a:avLst/>
          </a:prstGeom>
        </p:spPr>
      </p:pic>
      <p:sp>
        <p:nvSpPr>
          <p:cNvPr id="113" name="Rectangle 112">
            <a:extLst>
              <a:ext uri="{FF2B5EF4-FFF2-40B4-BE49-F238E27FC236}">
                <a16:creationId xmlns:a16="http://schemas.microsoft.com/office/drawing/2014/main" id="{E2ABF258-7C86-4C59-A22E-CBAD42D8E2D6}"/>
              </a:ext>
            </a:extLst>
          </p:cNvPr>
          <p:cNvSpPr/>
          <p:nvPr/>
        </p:nvSpPr>
        <p:spPr>
          <a:xfrm>
            <a:off x="2344208" y="4902103"/>
            <a:ext cx="543830" cy="24623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err="1"/>
              <a:t>Collibra</a:t>
            </a:r>
            <a:endParaRPr lang="de-DE" sz="800" dirty="0"/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928F25E5-8C2E-4DBF-AE62-AC3C7062A1BB}"/>
              </a:ext>
            </a:extLst>
          </p:cNvPr>
          <p:cNvSpPr/>
          <p:nvPr/>
        </p:nvSpPr>
        <p:spPr>
          <a:xfrm>
            <a:off x="2344208" y="5181918"/>
            <a:ext cx="560107" cy="24624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800" dirty="0" err="1"/>
              <a:t>Collibra</a:t>
            </a:r>
            <a:r>
              <a:rPr lang="de-DE" sz="800" dirty="0"/>
              <a:t> </a:t>
            </a:r>
            <a:r>
              <a:rPr lang="de-DE" sz="800" dirty="0" err="1"/>
              <a:t>data</a:t>
            </a:r>
            <a:r>
              <a:rPr lang="de-DE" sz="800" dirty="0"/>
              <a:t> </a:t>
            </a:r>
            <a:r>
              <a:rPr lang="de-DE" sz="800" dirty="0" err="1"/>
              <a:t>catalog</a:t>
            </a:r>
            <a:endParaRPr lang="de-DE" sz="800" dirty="0"/>
          </a:p>
        </p:txBody>
      </p: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6D607082-A58E-4F7B-8A78-58D97CFC1443}"/>
              </a:ext>
            </a:extLst>
          </p:cNvPr>
          <p:cNvCxnSpPr>
            <a:cxnSpLocks/>
          </p:cNvCxnSpPr>
          <p:nvPr/>
        </p:nvCxnSpPr>
        <p:spPr>
          <a:xfrm flipV="1">
            <a:off x="4265099" y="1620067"/>
            <a:ext cx="0" cy="40176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tangle 122">
            <a:extLst>
              <a:ext uri="{FF2B5EF4-FFF2-40B4-BE49-F238E27FC236}">
                <a16:creationId xmlns:a16="http://schemas.microsoft.com/office/drawing/2014/main" id="{7DFB70D8-E8FD-46E9-B0D2-FF3B99993FBB}"/>
              </a:ext>
            </a:extLst>
          </p:cNvPr>
          <p:cNvSpPr/>
          <p:nvPr/>
        </p:nvSpPr>
        <p:spPr>
          <a:xfrm>
            <a:off x="3367562" y="3664217"/>
            <a:ext cx="1312788" cy="121930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Use case 1</a:t>
            </a:r>
          </a:p>
          <a:p>
            <a:pPr algn="ctr"/>
            <a:endParaRPr lang="de-DE" sz="1200" b="1" dirty="0">
              <a:solidFill>
                <a:schemeClr val="tx1"/>
              </a:solidFill>
            </a:endParaRPr>
          </a:p>
          <a:p>
            <a:pPr algn="ctr"/>
            <a:r>
              <a:rPr lang="de-DE" sz="1200" dirty="0">
                <a:solidFill>
                  <a:schemeClr val="tx1"/>
                </a:solidFill>
              </a:rPr>
              <a:t>Self Service reporting and analytics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287FCEE7-9F89-4FB2-A7FA-E1D915617B7F}"/>
              </a:ext>
            </a:extLst>
          </p:cNvPr>
          <p:cNvSpPr/>
          <p:nvPr/>
        </p:nvSpPr>
        <p:spPr>
          <a:xfrm>
            <a:off x="4730510" y="3664216"/>
            <a:ext cx="1312788" cy="121930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Use case 2</a:t>
            </a:r>
          </a:p>
          <a:p>
            <a:pPr algn="ctr"/>
            <a:endParaRPr lang="de-DE" sz="1200" b="1" dirty="0">
              <a:solidFill>
                <a:schemeClr val="tx1"/>
              </a:solidFill>
            </a:endParaRPr>
          </a:p>
          <a:p>
            <a:pPr algn="ctr"/>
            <a:r>
              <a:rPr lang="de-DE" sz="1200" dirty="0">
                <a:solidFill>
                  <a:schemeClr val="tx1"/>
                </a:solidFill>
              </a:rPr>
              <a:t>Client Reporting</a:t>
            </a:r>
          </a:p>
          <a:p>
            <a:pPr algn="ctr"/>
            <a:endParaRPr lang="de-DE" sz="1200" b="1" dirty="0">
              <a:solidFill>
                <a:schemeClr val="tx1"/>
              </a:solidFill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38BE78CD-8275-453C-9FED-90B63C39CE54}"/>
              </a:ext>
            </a:extLst>
          </p:cNvPr>
          <p:cNvSpPr/>
          <p:nvPr/>
        </p:nvSpPr>
        <p:spPr>
          <a:xfrm>
            <a:off x="6093458" y="3659714"/>
            <a:ext cx="1312788" cy="121930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Use case 3</a:t>
            </a:r>
          </a:p>
          <a:p>
            <a:pPr algn="ctr"/>
            <a:endParaRPr lang="de-DE" sz="1200" b="1" dirty="0">
              <a:solidFill>
                <a:schemeClr val="tx1"/>
              </a:solidFill>
            </a:endParaRPr>
          </a:p>
          <a:p>
            <a:pPr algn="ctr"/>
            <a:r>
              <a:rPr lang="de-DE" sz="1200" dirty="0">
                <a:solidFill>
                  <a:schemeClr val="tx1"/>
                </a:solidFill>
              </a:rPr>
              <a:t>Data distribution hub for key internal systems, clients and vendors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645E3540-3387-44F8-B495-CC46A692811C}"/>
              </a:ext>
            </a:extLst>
          </p:cNvPr>
          <p:cNvSpPr/>
          <p:nvPr/>
        </p:nvSpPr>
        <p:spPr>
          <a:xfrm>
            <a:off x="7454055" y="3659714"/>
            <a:ext cx="1312788" cy="121930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Use case 4</a:t>
            </a:r>
          </a:p>
          <a:p>
            <a:pPr algn="ctr"/>
            <a:endParaRPr lang="de-DE" sz="1200" b="1" dirty="0">
              <a:solidFill>
                <a:schemeClr val="tx1"/>
              </a:solidFill>
            </a:endParaRPr>
          </a:p>
          <a:p>
            <a:pPr algn="ctr"/>
            <a:r>
              <a:rPr lang="en-GB" sz="1200" dirty="0">
                <a:solidFill>
                  <a:schemeClr val="tx1"/>
                </a:solidFill>
              </a:rPr>
              <a:t>Data Science Platform</a:t>
            </a:r>
            <a:endParaRPr lang="de-DE" sz="1200" b="1" dirty="0">
              <a:solidFill>
                <a:schemeClr val="tx1"/>
              </a:solidFill>
            </a:endParaRPr>
          </a:p>
          <a:p>
            <a:pPr algn="ctr"/>
            <a:endParaRPr lang="de-DE" sz="1200" b="1" dirty="0">
              <a:solidFill>
                <a:schemeClr val="tx1"/>
              </a:solidFill>
            </a:endParaRPr>
          </a:p>
        </p:txBody>
      </p:sp>
      <p:pic>
        <p:nvPicPr>
          <p:cNvPr id="56" name="Graphic 55" descr="Group of men with solid fill">
            <a:extLst>
              <a:ext uri="{FF2B5EF4-FFF2-40B4-BE49-F238E27FC236}">
                <a16:creationId xmlns:a16="http://schemas.microsoft.com/office/drawing/2014/main" id="{8E2C0CA9-13AF-4DC7-8E7F-6135DEDC4B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99484" y="1232459"/>
            <a:ext cx="422713" cy="35620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FE37832-7C88-4488-A954-EB709FE38FDC}"/>
              </a:ext>
            </a:extLst>
          </p:cNvPr>
          <p:cNvSpPr/>
          <p:nvPr/>
        </p:nvSpPr>
        <p:spPr>
          <a:xfrm>
            <a:off x="7097364" y="2021829"/>
            <a:ext cx="3114591" cy="1095008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567053"/>
            <a:r>
              <a:rPr lang="en-US" sz="1200" b="1" dirty="0">
                <a:solidFill>
                  <a:schemeClr val="tx1"/>
                </a:solidFill>
                <a:latin typeface="Calibri" panose="020F0502020204030204"/>
              </a:rPr>
              <a:t>Outbound Feed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1034509-E066-4D3D-B669-F84CF3F6706F}"/>
              </a:ext>
            </a:extLst>
          </p:cNvPr>
          <p:cNvSpPr/>
          <p:nvPr/>
        </p:nvSpPr>
        <p:spPr>
          <a:xfrm>
            <a:off x="5206344" y="2364446"/>
            <a:ext cx="1145927" cy="2159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Legacy Reporting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C708767-EA82-4ED6-812B-7DBA3DBCFCFC}"/>
              </a:ext>
            </a:extLst>
          </p:cNvPr>
          <p:cNvSpPr/>
          <p:nvPr/>
        </p:nvSpPr>
        <p:spPr>
          <a:xfrm>
            <a:off x="5203252" y="2672778"/>
            <a:ext cx="1170423" cy="2159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67053"/>
            <a:r>
              <a:rPr lang="en-US" sz="800" dirty="0">
                <a:solidFill>
                  <a:prstClr val="white"/>
                </a:solidFill>
              </a:rPr>
              <a:t>Self Service BI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25AA3904-E04A-47C1-ABFF-E01D46888DF7}"/>
              </a:ext>
            </a:extLst>
          </p:cNvPr>
          <p:cNvSpPr/>
          <p:nvPr/>
        </p:nvSpPr>
        <p:spPr>
          <a:xfrm>
            <a:off x="3265856" y="2017882"/>
            <a:ext cx="1707025" cy="1098955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567053"/>
            <a:r>
              <a:rPr lang="en-US" sz="1200" b="1" dirty="0">
                <a:solidFill>
                  <a:schemeClr val="tx1"/>
                </a:solidFill>
                <a:latin typeface="Calibri" panose="020F0502020204030204"/>
              </a:rPr>
              <a:t>Domain based Analytic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8DF84218-1E6D-4593-9EB1-C9C4412FFABC}"/>
              </a:ext>
            </a:extLst>
          </p:cNvPr>
          <p:cNvSpPr/>
          <p:nvPr/>
        </p:nvSpPr>
        <p:spPr>
          <a:xfrm>
            <a:off x="8603874" y="2496683"/>
            <a:ext cx="627231" cy="162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 err="1">
                <a:solidFill>
                  <a:schemeClr val="bg1"/>
                </a:solidFill>
              </a:rPr>
              <a:t>ComplySci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E7114B19-DA90-40B3-AA16-7B0331EE5648}"/>
              </a:ext>
            </a:extLst>
          </p:cNvPr>
          <p:cNvSpPr/>
          <p:nvPr/>
        </p:nvSpPr>
        <p:spPr>
          <a:xfrm>
            <a:off x="8594195" y="2687265"/>
            <a:ext cx="644238" cy="162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DSMSABIC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795098E6-884E-4FE3-A158-E0AD7AB86FCB}"/>
              </a:ext>
            </a:extLst>
          </p:cNvPr>
          <p:cNvSpPr/>
          <p:nvPr/>
        </p:nvSpPr>
        <p:spPr>
          <a:xfrm>
            <a:off x="7222546" y="2767537"/>
            <a:ext cx="657283" cy="2159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FINSCAN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0F701CC-B195-48BC-BC8C-87A37A084207}"/>
              </a:ext>
            </a:extLst>
          </p:cNvPr>
          <p:cNvSpPr/>
          <p:nvPr/>
        </p:nvSpPr>
        <p:spPr>
          <a:xfrm>
            <a:off x="8611202" y="2882138"/>
            <a:ext cx="627231" cy="162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Clearwater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72BC51B-9FCE-47B1-BEEA-6A0CD989603B}"/>
              </a:ext>
            </a:extLst>
          </p:cNvPr>
          <p:cNvSpPr/>
          <p:nvPr/>
        </p:nvSpPr>
        <p:spPr>
          <a:xfrm>
            <a:off x="9309984" y="2682698"/>
            <a:ext cx="622725" cy="155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BlackRock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6B55B663-3E9A-49C9-A94D-762CA2094546}"/>
              </a:ext>
            </a:extLst>
          </p:cNvPr>
          <p:cNvSpPr/>
          <p:nvPr/>
        </p:nvSpPr>
        <p:spPr>
          <a:xfrm>
            <a:off x="9298250" y="2488967"/>
            <a:ext cx="634208" cy="162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Citi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A2539934-FB51-4961-8921-93DD82BD4539}"/>
              </a:ext>
            </a:extLst>
          </p:cNvPr>
          <p:cNvSpPr/>
          <p:nvPr/>
        </p:nvSpPr>
        <p:spPr>
          <a:xfrm>
            <a:off x="7133354" y="2320043"/>
            <a:ext cx="1330048" cy="755581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1002648-477D-45A5-B995-C0467622C75B}"/>
              </a:ext>
            </a:extLst>
          </p:cNvPr>
          <p:cNvSpPr txBox="1"/>
          <p:nvPr/>
        </p:nvSpPr>
        <p:spPr>
          <a:xfrm>
            <a:off x="7228471" y="2337444"/>
            <a:ext cx="605948" cy="107722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700" dirty="0">
                <a:solidFill>
                  <a:schemeClr val="tx1"/>
                </a:solidFill>
              </a:rPr>
              <a:t>Internal systems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4D005A2E-E938-4BCB-AC58-76D4E7EB5E32}"/>
              </a:ext>
            </a:extLst>
          </p:cNvPr>
          <p:cNvSpPr/>
          <p:nvPr/>
        </p:nvSpPr>
        <p:spPr>
          <a:xfrm>
            <a:off x="8499580" y="2324001"/>
            <a:ext cx="1585844" cy="755581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18D56EB-5638-4678-85A5-CE1563EDC74A}"/>
              </a:ext>
            </a:extLst>
          </p:cNvPr>
          <p:cNvSpPr txBox="1"/>
          <p:nvPr/>
        </p:nvSpPr>
        <p:spPr>
          <a:xfrm>
            <a:off x="8599026" y="2341402"/>
            <a:ext cx="859059" cy="107722"/>
          </a:xfrm>
          <a:prstGeom prst="rect">
            <a:avLst/>
          </a:prstGeom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700" dirty="0">
                <a:solidFill>
                  <a:schemeClr val="tx1"/>
                </a:solidFill>
              </a:rPr>
              <a:t>External systems</a:t>
            </a:r>
          </a:p>
        </p:txBody>
      </p:sp>
      <p:sp>
        <p:nvSpPr>
          <p:cNvPr id="25" name="Speech Bubble: Rectangle 24">
            <a:extLst>
              <a:ext uri="{FF2B5EF4-FFF2-40B4-BE49-F238E27FC236}">
                <a16:creationId xmlns:a16="http://schemas.microsoft.com/office/drawing/2014/main" id="{0C12A8AD-4DF3-469D-9B51-12DC96AC805B}"/>
              </a:ext>
            </a:extLst>
          </p:cNvPr>
          <p:cNvSpPr/>
          <p:nvPr/>
        </p:nvSpPr>
        <p:spPr>
          <a:xfrm>
            <a:off x="2448604" y="3185892"/>
            <a:ext cx="826236" cy="478324"/>
          </a:xfrm>
          <a:prstGeom prst="wedgeRectCallout">
            <a:avLst>
              <a:gd name="adj1" fmla="val 84385"/>
              <a:gd name="adj2" fmla="val -129821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>
                <a:solidFill>
                  <a:sysClr val="windowText" lastClr="000000"/>
                </a:solidFill>
              </a:rPr>
              <a:t>To be defined and agreed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43247CD8-F0B3-41F5-B296-55B12BF51315}"/>
              </a:ext>
            </a:extLst>
          </p:cNvPr>
          <p:cNvSpPr/>
          <p:nvPr/>
        </p:nvSpPr>
        <p:spPr>
          <a:xfrm>
            <a:off x="3364589" y="2369902"/>
            <a:ext cx="634208" cy="2236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Portfolio Management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DCFE45C-039A-480D-A1BF-581159CCDB9B}"/>
              </a:ext>
            </a:extLst>
          </p:cNvPr>
          <p:cNvSpPr/>
          <p:nvPr/>
        </p:nvSpPr>
        <p:spPr>
          <a:xfrm>
            <a:off x="3364589" y="2640992"/>
            <a:ext cx="634208" cy="2236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Quant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D2D5C3D3-C6ED-4232-B50D-D4C4FC8E2B45}"/>
              </a:ext>
            </a:extLst>
          </p:cNvPr>
          <p:cNvSpPr/>
          <p:nvPr/>
        </p:nvSpPr>
        <p:spPr>
          <a:xfrm>
            <a:off x="4087989" y="2366070"/>
            <a:ext cx="634208" cy="2236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bIns="7200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Accounting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B3C7B93-F064-444C-94F2-163CB379EBC5}"/>
              </a:ext>
            </a:extLst>
          </p:cNvPr>
          <p:cNvSpPr/>
          <p:nvPr/>
        </p:nvSpPr>
        <p:spPr>
          <a:xfrm>
            <a:off x="4087989" y="2642678"/>
            <a:ext cx="634208" cy="2236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Other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5C77082-35D9-4719-B3AC-12E5B5611005}"/>
              </a:ext>
            </a:extLst>
          </p:cNvPr>
          <p:cNvSpPr/>
          <p:nvPr/>
        </p:nvSpPr>
        <p:spPr>
          <a:xfrm>
            <a:off x="7218320" y="2501650"/>
            <a:ext cx="657283" cy="2159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800" dirty="0" err="1">
                <a:solidFill>
                  <a:schemeClr val="bg1"/>
                </a:solidFill>
              </a:rPr>
              <a:t>KnowledgeLake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65EDFFA-682E-4856-A921-8345588A8948}"/>
              </a:ext>
            </a:extLst>
          </p:cNvPr>
          <p:cNvSpPr/>
          <p:nvPr/>
        </p:nvSpPr>
        <p:spPr>
          <a:xfrm>
            <a:off x="7907080" y="2501650"/>
            <a:ext cx="497698" cy="2159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Other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4DEF911-636F-478B-ABC5-C1C078C48F7F}"/>
              </a:ext>
            </a:extLst>
          </p:cNvPr>
          <p:cNvSpPr/>
          <p:nvPr/>
        </p:nvSpPr>
        <p:spPr>
          <a:xfrm>
            <a:off x="8130023" y="6179218"/>
            <a:ext cx="702686" cy="162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MUREX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63F90D63-B124-474A-9C07-83E613424054}"/>
              </a:ext>
            </a:extLst>
          </p:cNvPr>
          <p:cNvSpPr/>
          <p:nvPr/>
        </p:nvSpPr>
        <p:spPr>
          <a:xfrm>
            <a:off x="8130022" y="6397127"/>
            <a:ext cx="702687" cy="162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Trade order files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FF1500D-3EEB-4A39-A665-27CF8A12F04F}"/>
              </a:ext>
            </a:extLst>
          </p:cNvPr>
          <p:cNvSpPr/>
          <p:nvPr/>
        </p:nvSpPr>
        <p:spPr>
          <a:xfrm>
            <a:off x="8880059" y="6181156"/>
            <a:ext cx="629224" cy="1600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MEDM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8E72F544-F84C-4FFF-9029-E9C0278DDDD4}"/>
              </a:ext>
            </a:extLst>
          </p:cNvPr>
          <p:cNvSpPr/>
          <p:nvPr/>
        </p:nvSpPr>
        <p:spPr>
          <a:xfrm>
            <a:off x="8893420" y="6401016"/>
            <a:ext cx="629224" cy="1600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Other</a:t>
            </a: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AC19C129-8D0D-4CDA-8C15-88AC1F586A59}"/>
              </a:ext>
            </a:extLst>
          </p:cNvPr>
          <p:cNvCxnSpPr>
            <a:cxnSpLocks/>
          </p:cNvCxnSpPr>
          <p:nvPr/>
        </p:nvCxnSpPr>
        <p:spPr>
          <a:xfrm flipV="1">
            <a:off x="4087989" y="3113350"/>
            <a:ext cx="0" cy="26996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C42870C4-59F3-4764-9B69-67FD7A02921E}"/>
              </a:ext>
            </a:extLst>
          </p:cNvPr>
          <p:cNvCxnSpPr>
            <a:cxnSpLocks/>
          </p:cNvCxnSpPr>
          <p:nvPr/>
        </p:nvCxnSpPr>
        <p:spPr>
          <a:xfrm flipV="1">
            <a:off x="6086606" y="3113074"/>
            <a:ext cx="0" cy="27024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37C81789-181D-49A1-9E53-8D6703B04B45}"/>
              </a:ext>
            </a:extLst>
          </p:cNvPr>
          <p:cNvCxnSpPr>
            <a:cxnSpLocks/>
          </p:cNvCxnSpPr>
          <p:nvPr/>
        </p:nvCxnSpPr>
        <p:spPr>
          <a:xfrm flipV="1">
            <a:off x="8611202" y="3113074"/>
            <a:ext cx="0" cy="27024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 98">
            <a:extLst>
              <a:ext uri="{FF2B5EF4-FFF2-40B4-BE49-F238E27FC236}">
                <a16:creationId xmlns:a16="http://schemas.microsoft.com/office/drawing/2014/main" id="{7E9DD0C2-9844-481B-A30B-F9AC8D7EB3CC}"/>
              </a:ext>
            </a:extLst>
          </p:cNvPr>
          <p:cNvSpPr/>
          <p:nvPr/>
        </p:nvSpPr>
        <p:spPr>
          <a:xfrm>
            <a:off x="8826232" y="3654934"/>
            <a:ext cx="1312788" cy="121930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Use case 5</a:t>
            </a:r>
          </a:p>
          <a:p>
            <a:pPr algn="ctr"/>
            <a:endParaRPr lang="de-DE" sz="1200" b="1" dirty="0">
              <a:solidFill>
                <a:schemeClr val="tx1"/>
              </a:solidFill>
            </a:endParaRPr>
          </a:p>
          <a:p>
            <a:pPr algn="ctr"/>
            <a:r>
              <a:rPr lang="de-DE" sz="1200" dirty="0">
                <a:solidFill>
                  <a:schemeClr val="tx1"/>
                </a:solidFill>
              </a:rPr>
              <a:t>Other </a:t>
            </a:r>
          </a:p>
          <a:p>
            <a:pPr algn="ctr"/>
            <a:endParaRPr lang="de-DE" sz="1200" dirty="0">
              <a:solidFill>
                <a:schemeClr val="tx1"/>
              </a:solidFill>
            </a:endParaRPr>
          </a:p>
          <a:p>
            <a:pPr algn="ctr"/>
            <a:r>
              <a:rPr lang="de-DE" sz="1200" dirty="0">
                <a:solidFill>
                  <a:schemeClr val="tx1"/>
                </a:solidFill>
              </a:rPr>
              <a:t>To be defined</a:t>
            </a:r>
          </a:p>
        </p:txBody>
      </p:sp>
      <p:sp>
        <p:nvSpPr>
          <p:cNvPr id="100" name="Speech Bubble: Rectangle 99">
            <a:extLst>
              <a:ext uri="{FF2B5EF4-FFF2-40B4-BE49-F238E27FC236}">
                <a16:creationId xmlns:a16="http://schemas.microsoft.com/office/drawing/2014/main" id="{D71A7E51-CFB6-4C88-88DC-DA01DDBEAD68}"/>
              </a:ext>
            </a:extLst>
          </p:cNvPr>
          <p:cNvSpPr/>
          <p:nvPr/>
        </p:nvSpPr>
        <p:spPr>
          <a:xfrm>
            <a:off x="2023806" y="4195773"/>
            <a:ext cx="968770" cy="478324"/>
          </a:xfrm>
          <a:prstGeom prst="wedgeRectCallout">
            <a:avLst>
              <a:gd name="adj1" fmla="val 63815"/>
              <a:gd name="adj2" fmla="val -57707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>
                <a:solidFill>
                  <a:sysClr val="windowText" lastClr="000000"/>
                </a:solidFill>
              </a:rPr>
              <a:t>Who is best to provide? 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CA8CB510-B4A8-4E4A-8956-83718773AD7B}"/>
              </a:ext>
            </a:extLst>
          </p:cNvPr>
          <p:cNvSpPr/>
          <p:nvPr/>
        </p:nvSpPr>
        <p:spPr>
          <a:xfrm rot="20707205">
            <a:off x="6389618" y="3052920"/>
            <a:ext cx="1889741" cy="478324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To be completed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7E73B5B-599C-4B22-B0FA-84B52629C875}"/>
              </a:ext>
            </a:extLst>
          </p:cNvPr>
          <p:cNvSpPr/>
          <p:nvPr/>
        </p:nvSpPr>
        <p:spPr>
          <a:xfrm>
            <a:off x="520414" y="829161"/>
            <a:ext cx="2616013" cy="20284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buSzPct val="70000"/>
            </a:pPr>
            <a:r>
              <a:rPr lang="en-GB" sz="1050" b="1" dirty="0">
                <a:solidFill>
                  <a:schemeClr val="tx1"/>
                </a:solidFill>
              </a:rPr>
              <a:t>Key Notes</a:t>
            </a:r>
          </a:p>
          <a:p>
            <a:pPr marL="171450" indent="-171450">
              <a:buSzPct val="70000"/>
              <a:buFont typeface="Wingdings 3" panose="05040102010807070707" pitchFamily="18" charset="2"/>
              <a:buChar char="u"/>
            </a:pPr>
            <a:r>
              <a:rPr lang="en-GB" sz="1050" dirty="0">
                <a:solidFill>
                  <a:schemeClr val="tx1"/>
                </a:solidFill>
              </a:rPr>
              <a:t>This diagram represents an initial high level representation of the Semantic Layer</a:t>
            </a:r>
          </a:p>
          <a:p>
            <a:pPr marL="171450" indent="-171450">
              <a:buSzPct val="70000"/>
              <a:buFont typeface="Wingdings 3" panose="05040102010807070707" pitchFamily="18" charset="2"/>
              <a:buChar char="u"/>
            </a:pPr>
            <a:r>
              <a:rPr lang="en-GB" sz="1050" dirty="0">
                <a:solidFill>
                  <a:schemeClr val="tx1"/>
                </a:solidFill>
              </a:rPr>
              <a:t>To complete this view we will require the following:</a:t>
            </a:r>
          </a:p>
          <a:p>
            <a:pPr marL="357188" lvl="1" indent="-174625">
              <a:buSzPct val="70000"/>
              <a:buFont typeface="Wingdings 3" panose="05040102010807070707" pitchFamily="18" charset="2"/>
              <a:buChar char="u"/>
            </a:pPr>
            <a:r>
              <a:rPr lang="en-GB" sz="1050" dirty="0">
                <a:solidFill>
                  <a:schemeClr val="tx1"/>
                </a:solidFill>
              </a:rPr>
              <a:t>Identification of Use cases</a:t>
            </a:r>
          </a:p>
          <a:p>
            <a:pPr marL="357188" lvl="1" indent="-174625">
              <a:buSzPct val="70000"/>
              <a:buFont typeface="Wingdings 3" panose="05040102010807070707" pitchFamily="18" charset="2"/>
              <a:buChar char="u"/>
            </a:pPr>
            <a:r>
              <a:rPr lang="en-GB" sz="1050" dirty="0">
                <a:solidFill>
                  <a:schemeClr val="tx1"/>
                </a:solidFill>
              </a:rPr>
              <a:t>Complete listing of all inbound sources and outbound feeds and consumers of data</a:t>
            </a:r>
          </a:p>
          <a:p>
            <a:pPr marL="357188" lvl="1" indent="-174625">
              <a:buSzPct val="70000"/>
              <a:buFont typeface="Wingdings 3" panose="05040102010807070707" pitchFamily="18" charset="2"/>
              <a:buChar char="u"/>
            </a:pPr>
            <a:r>
              <a:rPr lang="en-GB" sz="1050" dirty="0">
                <a:solidFill>
                  <a:schemeClr val="tx1"/>
                </a:solidFill>
              </a:rPr>
              <a:t>Resourcing delivery team</a:t>
            </a:r>
          </a:p>
          <a:p>
            <a:pPr marL="357188" lvl="1" indent="-174625">
              <a:buSzPct val="70000"/>
              <a:buFont typeface="Wingdings 3" panose="05040102010807070707" pitchFamily="18" charset="2"/>
              <a:buChar char="u"/>
            </a:pPr>
            <a:r>
              <a:rPr lang="en-GB" sz="1050" dirty="0">
                <a:solidFill>
                  <a:schemeClr val="tx1"/>
                </a:solidFill>
              </a:rPr>
              <a:t>Identification and prioritisation of requirements</a:t>
            </a:r>
          </a:p>
          <a:p>
            <a:pPr marL="182563" lvl="1">
              <a:buSzPct val="70000"/>
            </a:pP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67" name="Speech Bubble: Rectangle 66">
            <a:extLst>
              <a:ext uri="{FF2B5EF4-FFF2-40B4-BE49-F238E27FC236}">
                <a16:creationId xmlns:a16="http://schemas.microsoft.com/office/drawing/2014/main" id="{210B940D-E27A-45C6-8B8E-CCFA58BD12E0}"/>
              </a:ext>
            </a:extLst>
          </p:cNvPr>
          <p:cNvSpPr/>
          <p:nvPr/>
        </p:nvSpPr>
        <p:spPr>
          <a:xfrm>
            <a:off x="9660158" y="5771853"/>
            <a:ext cx="968770" cy="478324"/>
          </a:xfrm>
          <a:prstGeom prst="wedgeRectCallout">
            <a:avLst>
              <a:gd name="adj1" fmla="val -70127"/>
              <a:gd name="adj2" fmla="val -1268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>
                <a:solidFill>
                  <a:sysClr val="windowText" lastClr="000000"/>
                </a:solidFill>
              </a:rPr>
              <a:t>To be fully documente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D498B68-5682-4C16-B07D-29A255FBC609}"/>
              </a:ext>
            </a:extLst>
          </p:cNvPr>
          <p:cNvSpPr/>
          <p:nvPr/>
        </p:nvSpPr>
        <p:spPr>
          <a:xfrm>
            <a:off x="10496184" y="2386814"/>
            <a:ext cx="1608730" cy="333538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b="1" dirty="0">
                <a:solidFill>
                  <a:schemeClr val="tx1"/>
                </a:solidFill>
              </a:rPr>
              <a:t>Principles</a:t>
            </a:r>
          </a:p>
          <a:p>
            <a:pPr marL="171450" indent="-171450">
              <a:buSzPct val="70000"/>
              <a:buFont typeface="Wingdings 3" panose="05040102010807070707" pitchFamily="18" charset="2"/>
              <a:buChar char="u"/>
            </a:pPr>
            <a:r>
              <a:rPr lang="en-GB" sz="1000" dirty="0">
                <a:solidFill>
                  <a:schemeClr val="tx1"/>
                </a:solidFill>
              </a:rPr>
              <a:t>High quality,  controlled and trusted data</a:t>
            </a:r>
          </a:p>
          <a:p>
            <a:pPr marL="171450" indent="-171450">
              <a:buSzPct val="70000"/>
              <a:buFont typeface="Wingdings 3" panose="05040102010807070707" pitchFamily="18" charset="2"/>
              <a:buChar char="u"/>
            </a:pPr>
            <a:r>
              <a:rPr lang="de-DE" sz="1000" dirty="0">
                <a:solidFill>
                  <a:schemeClr val="tx1"/>
                </a:solidFill>
              </a:rPr>
              <a:t>Common business definitions across business</a:t>
            </a:r>
          </a:p>
          <a:p>
            <a:pPr marL="171450" indent="-171450">
              <a:buSzPct val="70000"/>
              <a:buFont typeface="Wingdings 3" panose="05040102010807070707" pitchFamily="18" charset="2"/>
              <a:buChar char="u"/>
            </a:pPr>
            <a:r>
              <a:rPr lang="en-GB" sz="1000" dirty="0">
                <a:solidFill>
                  <a:schemeClr val="tx1"/>
                </a:solidFill>
              </a:rPr>
              <a:t>Enhanced user access controls</a:t>
            </a:r>
          </a:p>
          <a:p>
            <a:pPr marL="171450" indent="-171450">
              <a:buSzPct val="70000"/>
              <a:buFont typeface="Wingdings 3" panose="05040102010807070707" pitchFamily="18" charset="2"/>
              <a:buChar char="u"/>
            </a:pPr>
            <a:r>
              <a:rPr lang="en-GB" sz="1000" dirty="0" err="1">
                <a:solidFill>
                  <a:schemeClr val="tx1"/>
                </a:solidFill>
              </a:rPr>
              <a:t>tbd</a:t>
            </a:r>
            <a:endParaRPr lang="en-GB" sz="1000" dirty="0">
              <a:solidFill>
                <a:schemeClr val="tx1"/>
              </a:solidFill>
            </a:endParaRPr>
          </a:p>
          <a:p>
            <a:pPr marL="171450" indent="-171450">
              <a:buSzPct val="70000"/>
              <a:buFont typeface="Wingdings 3" panose="05040102010807070707" pitchFamily="18" charset="2"/>
              <a:buChar char="u"/>
            </a:pPr>
            <a:endParaRPr lang="en-GB" sz="1000" dirty="0">
              <a:solidFill>
                <a:schemeClr val="tx1"/>
              </a:solidFill>
            </a:endParaRPr>
          </a:p>
          <a:p>
            <a:pPr marL="171450" indent="-171450">
              <a:buSzPct val="70000"/>
              <a:buFont typeface="Wingdings 3" panose="05040102010807070707" pitchFamily="18" charset="2"/>
              <a:buChar char="u"/>
            </a:pPr>
            <a:endParaRPr lang="en-GB" sz="1000" dirty="0">
              <a:solidFill>
                <a:schemeClr val="tx1"/>
              </a:solidFill>
            </a:endParaRPr>
          </a:p>
          <a:p>
            <a:pPr marL="171450" indent="-171450">
              <a:buSzPct val="70000"/>
              <a:buFont typeface="Wingdings 3" panose="05040102010807070707" pitchFamily="18" charset="2"/>
              <a:buChar char="u"/>
            </a:pPr>
            <a:endParaRPr lang="en-GB" sz="1000" dirty="0">
              <a:solidFill>
                <a:schemeClr val="tx1"/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3331C3D-0A1C-4BED-AECB-CA7B652633B1}"/>
              </a:ext>
            </a:extLst>
          </p:cNvPr>
          <p:cNvCxnSpPr/>
          <p:nvPr/>
        </p:nvCxnSpPr>
        <p:spPr>
          <a:xfrm flipV="1">
            <a:off x="10222903" y="2369902"/>
            <a:ext cx="273281" cy="1059098"/>
          </a:xfrm>
          <a:prstGeom prst="line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4B46EDFF-A8BC-42B9-9C0F-E322AF8AA3A4}"/>
              </a:ext>
            </a:extLst>
          </p:cNvPr>
          <p:cNvCxnSpPr>
            <a:cxnSpLocks/>
          </p:cNvCxnSpPr>
          <p:nvPr/>
        </p:nvCxnSpPr>
        <p:spPr>
          <a:xfrm>
            <a:off x="10215827" y="5428328"/>
            <a:ext cx="280357" cy="293869"/>
          </a:xfrm>
          <a:prstGeom prst="line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5977339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  <p:tag name="EYLAYOUT" val="Black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Black Template 2021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noFill/>
        </a:ln>
      </a:spPr>
      <a:bodyPr lIns="0" tIns="0" rIns="0" bIns="0" rtlCol="0" anchor="ctr" anchorCtr="0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 Black (blank).potx" id="{DC1A1A3B-3AE0-4B1E-8FA1-608CAA5F762C}" vid="{07505BA8-0667-4C40-8B10-ED4855850F2A}"/>
    </a:ext>
  </a:extLst>
</a:theme>
</file>

<file path=ppt/theme/theme2.xml><?xml version="1.0" encoding="utf-8"?>
<a:theme xmlns:a="http://schemas.openxmlformats.org/drawingml/2006/main" name="PPT Theme1 Aegon">
  <a:themeElements>
    <a:clrScheme name="Aegon Asset Management">
      <a:dk1>
        <a:srgbClr val="000000"/>
      </a:dk1>
      <a:lt1>
        <a:sysClr val="window" lastClr="FFFFFF"/>
      </a:lt1>
      <a:dk2>
        <a:srgbClr val="001F5B"/>
      </a:dk2>
      <a:lt2>
        <a:srgbClr val="FFFFFF"/>
      </a:lt2>
      <a:accent1>
        <a:srgbClr val="0069B4"/>
      </a:accent1>
      <a:accent2>
        <a:srgbClr val="FFB819"/>
      </a:accent2>
      <a:accent3>
        <a:srgbClr val="001F5B"/>
      </a:accent3>
      <a:accent4>
        <a:srgbClr val="C3002F"/>
      </a:accent4>
      <a:accent5>
        <a:srgbClr val="63A70A"/>
      </a:accent5>
      <a:accent6>
        <a:srgbClr val="D75F00"/>
      </a:accent6>
      <a:hlink>
        <a:srgbClr val="007BC8"/>
      </a:hlink>
      <a:folHlink>
        <a:srgbClr val="E84B37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lIns="0" tIns="0" rIns="0" bIns="0" anchor="t" anchorCtr="0"/>
      <a:lstStyle>
        <a:defPPr>
          <a:defRPr sz="200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Theme1 Aegon" id="{43EF5401-5D43-44F3-9F64-056179008D20}" vid="{3340B473-65F1-4B62-BDC7-0A8BA5B047D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19c63b2-01cf-4a44-bff2-3b6feb06fedf" xsi:nil="true"/>
    <lcf76f155ced4ddcb4097134ff3c332f xmlns="c7965f95-b4bf-46f9-943b-8632934390d8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C1D328955CF8B4EA09FDE1A8AF44AE2" ma:contentTypeVersion="10" ma:contentTypeDescription="Een nieuw document maken." ma:contentTypeScope="" ma:versionID="9d5b764452201d3ba8b85c7b9aaffff3">
  <xsd:schema xmlns:xsd="http://www.w3.org/2001/XMLSchema" xmlns:xs="http://www.w3.org/2001/XMLSchema" xmlns:p="http://schemas.microsoft.com/office/2006/metadata/properties" xmlns:ns2="c7965f95-b4bf-46f9-943b-8632934390d8" xmlns:ns3="219c63b2-01cf-4a44-bff2-3b6feb06fedf" targetNamespace="http://schemas.microsoft.com/office/2006/metadata/properties" ma:root="true" ma:fieldsID="40dd6c8fbdf70ede86c5e48846a51ae6" ns2:_="" ns3:_="">
    <xsd:import namespace="c7965f95-b4bf-46f9-943b-8632934390d8"/>
    <xsd:import namespace="219c63b2-01cf-4a44-bff2-3b6feb06fed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965f95-b4bf-46f9-943b-8632934390d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3" nillable="true" ma:taxonomy="true" ma:internalName="lcf76f155ced4ddcb4097134ff3c332f" ma:taxonomyFieldName="MediaServiceImageTags" ma:displayName="Afbeeldingtags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9c63b2-01cf-4a44-bff2-3b6feb06fedf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f2a7964-8d77-4a08-a68b-a756f3931a34}" ma:internalName="TaxCatchAll" ma:showField="CatchAllData" ma:web="219c63b2-01cf-4a44-bff2-3b6feb06fed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088276D-5D49-4EB7-8F47-526A0F77F6FE}">
  <ds:schemaRefs>
    <ds:schemaRef ds:uri="219c63b2-01cf-4a44-bff2-3b6feb06fedf"/>
    <ds:schemaRef ds:uri="c7965f95-b4bf-46f9-943b-8632934390d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98DE31D-8A66-48C6-A317-648A7E9C701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5F11276-88DC-45FA-9A54-48C574CC56B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965f95-b4bf-46f9-943b-8632934390d8"/>
    <ds:schemaRef ds:uri="219c63b2-01cf-4a44-bff2-3b6feb06fed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5751</TotalTime>
  <Words>959</Words>
  <Application>Microsoft Office PowerPoint</Application>
  <PresentationFormat>Custom</PresentationFormat>
  <Paragraphs>280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Calibri</vt:lpstr>
      <vt:lpstr>EYInterstate</vt:lpstr>
      <vt:lpstr>EYInterstate Light</vt:lpstr>
      <vt:lpstr>Wingdings 3</vt:lpstr>
      <vt:lpstr>EY Black Template 2021</vt:lpstr>
      <vt:lpstr>PPT Theme1 Aegon</vt:lpstr>
      <vt:lpstr>think-cell Slide</vt:lpstr>
      <vt:lpstr>Semantic layer   Planning next steps</vt:lpstr>
      <vt:lpstr>Contents </vt:lpstr>
      <vt:lpstr>Semantic Layer – path to future state architecture </vt:lpstr>
      <vt:lpstr>Approach </vt:lpstr>
      <vt:lpstr>High Level Plan v0.1 </vt:lpstr>
      <vt:lpstr>Semantic Layer Team: Current Hypothesis to be refined during workshops</vt:lpstr>
      <vt:lpstr>Semantic Layer Vision: A key next step is building out the next level of detail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mantic Data Layer</dc:title>
  <dc:creator>Simon van Oppen</dc:creator>
  <cp:keywords/>
  <cp:lastModifiedBy>Vasileios Lappas</cp:lastModifiedBy>
  <cp:revision>23</cp:revision>
  <dcterms:created xsi:type="dcterms:W3CDTF">2022-07-07T12:39:37Z</dcterms:created>
  <dcterms:modified xsi:type="dcterms:W3CDTF">2022-10-06T08:51:02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C1D328955CF8B4EA09FDE1A8AF44AE2</vt:lpwstr>
  </property>
  <property fmtid="{D5CDD505-2E9C-101B-9397-08002B2CF9AE}" pid="3" name="MediaServiceImageTags">
    <vt:lpwstr/>
  </property>
</Properties>
</file>